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F93E0-2F33-9BF8-C7DB-8EA2CC8463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C0525B42-62EC-F71F-C7BA-B138DF8E41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525B42-62EC-F71F-C7BA-B138DF8E4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2344C1-F402-F395-E2D0-5CE0D8E9C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12D297-910A-65E9-98E2-E4A122F4F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2" name="Freeform 30">
            <a:extLst>
              <a:ext uri="{FF2B5EF4-FFF2-40B4-BE49-F238E27FC236}">
                <a16:creationId xmlns:a16="http://schemas.microsoft.com/office/drawing/2014/main" id="{4652D2E9-94EA-A715-C6F1-BD1CC6E31173}"/>
              </a:ext>
            </a:extLst>
          </p:cNvPr>
          <p:cNvSpPr>
            <a:spLocks/>
          </p:cNvSpPr>
          <p:nvPr/>
        </p:nvSpPr>
        <p:spPr bwMode="auto">
          <a:xfrm>
            <a:off x="5592096" y="3581510"/>
            <a:ext cx="3578937" cy="2245739"/>
          </a:xfrm>
          <a:custGeom>
            <a:avLst/>
            <a:gdLst>
              <a:gd name="T0" fmla="*/ 1491 w 2193"/>
              <a:gd name="T1" fmla="*/ 1376 h 1376"/>
              <a:gd name="T2" fmla="*/ 1486 w 2193"/>
              <a:gd name="T3" fmla="*/ 1329 h 1376"/>
              <a:gd name="T4" fmla="*/ 1455 w 2193"/>
              <a:gd name="T5" fmla="*/ 1255 h 1376"/>
              <a:gd name="T6" fmla="*/ 1398 w 2193"/>
              <a:gd name="T7" fmla="*/ 1200 h 1376"/>
              <a:gd name="T8" fmla="*/ 1326 w 2193"/>
              <a:gd name="T9" fmla="*/ 1168 h 1376"/>
              <a:gd name="T10" fmla="*/ 1262 w 2193"/>
              <a:gd name="T11" fmla="*/ 1166 h 1376"/>
              <a:gd name="T12" fmla="*/ 1185 w 2193"/>
              <a:gd name="T13" fmla="*/ 1189 h 1376"/>
              <a:gd name="T14" fmla="*/ 1125 w 2193"/>
              <a:gd name="T15" fmla="*/ 1240 h 1376"/>
              <a:gd name="T16" fmla="*/ 1086 w 2193"/>
              <a:gd name="T17" fmla="*/ 1310 h 1376"/>
              <a:gd name="T18" fmla="*/ 1077 w 2193"/>
              <a:gd name="T19" fmla="*/ 1371 h 1376"/>
              <a:gd name="T20" fmla="*/ 330 w 2193"/>
              <a:gd name="T21" fmla="*/ 815 h 1376"/>
              <a:gd name="T22" fmla="*/ 330 w 2193"/>
              <a:gd name="T23" fmla="*/ 757 h 1376"/>
              <a:gd name="T24" fmla="*/ 304 w 2193"/>
              <a:gd name="T25" fmla="*/ 799 h 1376"/>
              <a:gd name="T26" fmla="*/ 269 w 2193"/>
              <a:gd name="T27" fmla="*/ 832 h 1376"/>
              <a:gd name="T28" fmla="*/ 223 w 2193"/>
              <a:gd name="T29" fmla="*/ 852 h 1376"/>
              <a:gd name="T30" fmla="*/ 172 w 2193"/>
              <a:gd name="T31" fmla="*/ 860 h 1376"/>
              <a:gd name="T32" fmla="*/ 121 w 2193"/>
              <a:gd name="T33" fmla="*/ 852 h 1376"/>
              <a:gd name="T34" fmla="*/ 64 w 2193"/>
              <a:gd name="T35" fmla="*/ 821 h 1376"/>
              <a:gd name="T36" fmla="*/ 21 w 2193"/>
              <a:gd name="T37" fmla="*/ 770 h 1376"/>
              <a:gd name="T38" fmla="*/ 2 w 2193"/>
              <a:gd name="T39" fmla="*/ 705 h 1376"/>
              <a:gd name="T40" fmla="*/ 5 w 2193"/>
              <a:gd name="T41" fmla="*/ 653 h 1376"/>
              <a:gd name="T42" fmla="*/ 31 w 2193"/>
              <a:gd name="T43" fmla="*/ 592 h 1376"/>
              <a:gd name="T44" fmla="*/ 77 w 2193"/>
              <a:gd name="T45" fmla="*/ 546 h 1376"/>
              <a:gd name="T46" fmla="*/ 138 w 2193"/>
              <a:gd name="T47" fmla="*/ 520 h 1376"/>
              <a:gd name="T48" fmla="*/ 186 w 2193"/>
              <a:gd name="T49" fmla="*/ 517 h 1376"/>
              <a:gd name="T50" fmla="*/ 236 w 2193"/>
              <a:gd name="T51" fmla="*/ 528 h 1376"/>
              <a:gd name="T52" fmla="*/ 278 w 2193"/>
              <a:gd name="T53" fmla="*/ 551 h 1376"/>
              <a:gd name="T54" fmla="*/ 311 w 2193"/>
              <a:gd name="T55" fmla="*/ 587 h 1376"/>
              <a:gd name="T56" fmla="*/ 330 w 2193"/>
              <a:gd name="T57" fmla="*/ 561 h 1376"/>
              <a:gd name="T58" fmla="*/ 860 w 2193"/>
              <a:gd name="T59" fmla="*/ 0 h 1376"/>
              <a:gd name="T60" fmla="*/ 821 w 2193"/>
              <a:gd name="T61" fmla="*/ 63 h 1376"/>
              <a:gd name="T62" fmla="*/ 807 w 2193"/>
              <a:gd name="T63" fmla="*/ 137 h 1376"/>
              <a:gd name="T64" fmla="*/ 816 w 2193"/>
              <a:gd name="T65" fmla="*/ 199 h 1376"/>
              <a:gd name="T66" fmla="*/ 854 w 2193"/>
              <a:gd name="T67" fmla="*/ 269 h 1376"/>
              <a:gd name="T68" fmla="*/ 915 w 2193"/>
              <a:gd name="T69" fmla="*/ 319 h 1376"/>
              <a:gd name="T70" fmla="*/ 992 w 2193"/>
              <a:gd name="T71" fmla="*/ 342 h 1376"/>
              <a:gd name="T72" fmla="*/ 1055 w 2193"/>
              <a:gd name="T73" fmla="*/ 339 h 1376"/>
              <a:gd name="T74" fmla="*/ 1129 w 2193"/>
              <a:gd name="T75" fmla="*/ 309 h 1376"/>
              <a:gd name="T76" fmla="*/ 1184 w 2193"/>
              <a:gd name="T77" fmla="*/ 253 h 1376"/>
              <a:gd name="T78" fmla="*/ 1216 w 2193"/>
              <a:gd name="T79" fmla="*/ 179 h 1376"/>
              <a:gd name="T80" fmla="*/ 1218 w 2193"/>
              <a:gd name="T81" fmla="*/ 118 h 1376"/>
              <a:gd name="T82" fmla="*/ 1198 w 2193"/>
              <a:gd name="T83" fmla="*/ 45 h 1376"/>
              <a:gd name="T84" fmla="*/ 2193 w 2193"/>
              <a:gd name="T85" fmla="*/ 0 h 1376"/>
              <a:gd name="T86" fmla="*/ 2152 w 2193"/>
              <a:gd name="T87" fmla="*/ 594 h 1376"/>
              <a:gd name="T88" fmla="*/ 2078 w 2193"/>
              <a:gd name="T89" fmla="*/ 625 h 1376"/>
              <a:gd name="T90" fmla="*/ 2021 w 2193"/>
              <a:gd name="T91" fmla="*/ 680 h 1376"/>
              <a:gd name="T92" fmla="*/ 1991 w 2193"/>
              <a:gd name="T93" fmla="*/ 755 h 1376"/>
              <a:gd name="T94" fmla="*/ 1988 w 2193"/>
              <a:gd name="T95" fmla="*/ 816 h 1376"/>
              <a:gd name="T96" fmla="*/ 2012 w 2193"/>
              <a:gd name="T97" fmla="*/ 895 h 1376"/>
              <a:gd name="T98" fmla="*/ 2061 w 2193"/>
              <a:gd name="T99" fmla="*/ 955 h 1376"/>
              <a:gd name="T100" fmla="*/ 2131 w 2193"/>
              <a:gd name="T101" fmla="*/ 994 h 1376"/>
              <a:gd name="T102" fmla="*/ 2193 w 2193"/>
              <a:gd name="T103" fmla="*/ 1002 h 1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93" h="1376">
                <a:moveTo>
                  <a:pt x="2193" y="1002"/>
                </a:moveTo>
                <a:lnTo>
                  <a:pt x="2193" y="1376"/>
                </a:lnTo>
                <a:lnTo>
                  <a:pt x="1491" y="1376"/>
                </a:lnTo>
                <a:lnTo>
                  <a:pt x="1491" y="1376"/>
                </a:lnTo>
                <a:lnTo>
                  <a:pt x="1491" y="1371"/>
                </a:lnTo>
                <a:lnTo>
                  <a:pt x="1491" y="1371"/>
                </a:lnTo>
                <a:lnTo>
                  <a:pt x="1489" y="1350"/>
                </a:lnTo>
                <a:lnTo>
                  <a:pt x="1486" y="1329"/>
                </a:lnTo>
                <a:lnTo>
                  <a:pt x="1481" y="1310"/>
                </a:lnTo>
                <a:lnTo>
                  <a:pt x="1474" y="1291"/>
                </a:lnTo>
                <a:lnTo>
                  <a:pt x="1466" y="1273"/>
                </a:lnTo>
                <a:lnTo>
                  <a:pt x="1455" y="1255"/>
                </a:lnTo>
                <a:lnTo>
                  <a:pt x="1442" y="1240"/>
                </a:lnTo>
                <a:lnTo>
                  <a:pt x="1430" y="1225"/>
                </a:lnTo>
                <a:lnTo>
                  <a:pt x="1415" y="1212"/>
                </a:lnTo>
                <a:lnTo>
                  <a:pt x="1398" y="1200"/>
                </a:lnTo>
                <a:lnTo>
                  <a:pt x="1382" y="1189"/>
                </a:lnTo>
                <a:lnTo>
                  <a:pt x="1364" y="1181"/>
                </a:lnTo>
                <a:lnTo>
                  <a:pt x="1345" y="1174"/>
                </a:lnTo>
                <a:lnTo>
                  <a:pt x="1326" y="1168"/>
                </a:lnTo>
                <a:lnTo>
                  <a:pt x="1305" y="1166"/>
                </a:lnTo>
                <a:lnTo>
                  <a:pt x="1283" y="1164"/>
                </a:lnTo>
                <a:lnTo>
                  <a:pt x="1283" y="1164"/>
                </a:lnTo>
                <a:lnTo>
                  <a:pt x="1262" y="1166"/>
                </a:lnTo>
                <a:lnTo>
                  <a:pt x="1242" y="1168"/>
                </a:lnTo>
                <a:lnTo>
                  <a:pt x="1223" y="1174"/>
                </a:lnTo>
                <a:lnTo>
                  <a:pt x="1203" y="1181"/>
                </a:lnTo>
                <a:lnTo>
                  <a:pt x="1185" y="1189"/>
                </a:lnTo>
                <a:lnTo>
                  <a:pt x="1169" y="1200"/>
                </a:lnTo>
                <a:lnTo>
                  <a:pt x="1152" y="1212"/>
                </a:lnTo>
                <a:lnTo>
                  <a:pt x="1137" y="1225"/>
                </a:lnTo>
                <a:lnTo>
                  <a:pt x="1125" y="1240"/>
                </a:lnTo>
                <a:lnTo>
                  <a:pt x="1113" y="1255"/>
                </a:lnTo>
                <a:lnTo>
                  <a:pt x="1102" y="1273"/>
                </a:lnTo>
                <a:lnTo>
                  <a:pt x="1093" y="1291"/>
                </a:lnTo>
                <a:lnTo>
                  <a:pt x="1086" y="1310"/>
                </a:lnTo>
                <a:lnTo>
                  <a:pt x="1081" y="1329"/>
                </a:lnTo>
                <a:lnTo>
                  <a:pt x="1078" y="1350"/>
                </a:lnTo>
                <a:lnTo>
                  <a:pt x="1077" y="1371"/>
                </a:lnTo>
                <a:lnTo>
                  <a:pt x="1077" y="1371"/>
                </a:lnTo>
                <a:lnTo>
                  <a:pt x="1077" y="1376"/>
                </a:lnTo>
                <a:lnTo>
                  <a:pt x="330" y="1376"/>
                </a:lnTo>
                <a:lnTo>
                  <a:pt x="330" y="815"/>
                </a:lnTo>
                <a:lnTo>
                  <a:pt x="330" y="815"/>
                </a:lnTo>
                <a:lnTo>
                  <a:pt x="337" y="805"/>
                </a:lnTo>
                <a:lnTo>
                  <a:pt x="330" y="805"/>
                </a:lnTo>
                <a:lnTo>
                  <a:pt x="330" y="757"/>
                </a:lnTo>
                <a:lnTo>
                  <a:pt x="330" y="757"/>
                </a:lnTo>
                <a:lnTo>
                  <a:pt x="325" y="768"/>
                </a:lnTo>
                <a:lnTo>
                  <a:pt x="318" y="779"/>
                </a:lnTo>
                <a:lnTo>
                  <a:pt x="311" y="789"/>
                </a:lnTo>
                <a:lnTo>
                  <a:pt x="304" y="799"/>
                </a:lnTo>
                <a:lnTo>
                  <a:pt x="296" y="808"/>
                </a:lnTo>
                <a:lnTo>
                  <a:pt x="288" y="816"/>
                </a:lnTo>
                <a:lnTo>
                  <a:pt x="278" y="825"/>
                </a:lnTo>
                <a:lnTo>
                  <a:pt x="269" y="832"/>
                </a:lnTo>
                <a:lnTo>
                  <a:pt x="258" y="837"/>
                </a:lnTo>
                <a:lnTo>
                  <a:pt x="247" y="844"/>
                </a:lnTo>
                <a:lnTo>
                  <a:pt x="236" y="848"/>
                </a:lnTo>
                <a:lnTo>
                  <a:pt x="223" y="852"/>
                </a:lnTo>
                <a:lnTo>
                  <a:pt x="211" y="855"/>
                </a:lnTo>
                <a:lnTo>
                  <a:pt x="198" y="858"/>
                </a:lnTo>
                <a:lnTo>
                  <a:pt x="186" y="859"/>
                </a:lnTo>
                <a:lnTo>
                  <a:pt x="172" y="860"/>
                </a:lnTo>
                <a:lnTo>
                  <a:pt x="172" y="860"/>
                </a:lnTo>
                <a:lnTo>
                  <a:pt x="156" y="859"/>
                </a:lnTo>
                <a:lnTo>
                  <a:pt x="138" y="856"/>
                </a:lnTo>
                <a:lnTo>
                  <a:pt x="121" y="852"/>
                </a:lnTo>
                <a:lnTo>
                  <a:pt x="106" y="847"/>
                </a:lnTo>
                <a:lnTo>
                  <a:pt x="91" y="838"/>
                </a:lnTo>
                <a:lnTo>
                  <a:pt x="77" y="830"/>
                </a:lnTo>
                <a:lnTo>
                  <a:pt x="64" y="821"/>
                </a:lnTo>
                <a:lnTo>
                  <a:pt x="51" y="810"/>
                </a:lnTo>
                <a:lnTo>
                  <a:pt x="40" y="797"/>
                </a:lnTo>
                <a:lnTo>
                  <a:pt x="31" y="783"/>
                </a:lnTo>
                <a:lnTo>
                  <a:pt x="21" y="770"/>
                </a:lnTo>
                <a:lnTo>
                  <a:pt x="14" y="755"/>
                </a:lnTo>
                <a:lnTo>
                  <a:pt x="9" y="739"/>
                </a:lnTo>
                <a:lnTo>
                  <a:pt x="5" y="723"/>
                </a:lnTo>
                <a:lnTo>
                  <a:pt x="2" y="705"/>
                </a:lnTo>
                <a:lnTo>
                  <a:pt x="0" y="687"/>
                </a:lnTo>
                <a:lnTo>
                  <a:pt x="0" y="687"/>
                </a:lnTo>
                <a:lnTo>
                  <a:pt x="2" y="671"/>
                </a:lnTo>
                <a:lnTo>
                  <a:pt x="5" y="653"/>
                </a:lnTo>
                <a:lnTo>
                  <a:pt x="9" y="636"/>
                </a:lnTo>
                <a:lnTo>
                  <a:pt x="14" y="621"/>
                </a:lnTo>
                <a:lnTo>
                  <a:pt x="21" y="606"/>
                </a:lnTo>
                <a:lnTo>
                  <a:pt x="31" y="592"/>
                </a:lnTo>
                <a:lnTo>
                  <a:pt x="40" y="579"/>
                </a:lnTo>
                <a:lnTo>
                  <a:pt x="51" y="566"/>
                </a:lnTo>
                <a:lnTo>
                  <a:pt x="64" y="555"/>
                </a:lnTo>
                <a:lnTo>
                  <a:pt x="77" y="546"/>
                </a:lnTo>
                <a:lnTo>
                  <a:pt x="91" y="536"/>
                </a:lnTo>
                <a:lnTo>
                  <a:pt x="106" y="529"/>
                </a:lnTo>
                <a:lnTo>
                  <a:pt x="121" y="524"/>
                </a:lnTo>
                <a:lnTo>
                  <a:pt x="138" y="520"/>
                </a:lnTo>
                <a:lnTo>
                  <a:pt x="156" y="517"/>
                </a:lnTo>
                <a:lnTo>
                  <a:pt x="172" y="515"/>
                </a:lnTo>
                <a:lnTo>
                  <a:pt x="172" y="515"/>
                </a:lnTo>
                <a:lnTo>
                  <a:pt x="186" y="517"/>
                </a:lnTo>
                <a:lnTo>
                  <a:pt x="198" y="518"/>
                </a:lnTo>
                <a:lnTo>
                  <a:pt x="211" y="520"/>
                </a:lnTo>
                <a:lnTo>
                  <a:pt x="223" y="524"/>
                </a:lnTo>
                <a:lnTo>
                  <a:pt x="236" y="528"/>
                </a:lnTo>
                <a:lnTo>
                  <a:pt x="247" y="532"/>
                </a:lnTo>
                <a:lnTo>
                  <a:pt x="258" y="537"/>
                </a:lnTo>
                <a:lnTo>
                  <a:pt x="269" y="544"/>
                </a:lnTo>
                <a:lnTo>
                  <a:pt x="278" y="551"/>
                </a:lnTo>
                <a:lnTo>
                  <a:pt x="288" y="559"/>
                </a:lnTo>
                <a:lnTo>
                  <a:pt x="296" y="568"/>
                </a:lnTo>
                <a:lnTo>
                  <a:pt x="304" y="577"/>
                </a:lnTo>
                <a:lnTo>
                  <a:pt x="311" y="587"/>
                </a:lnTo>
                <a:lnTo>
                  <a:pt x="318" y="597"/>
                </a:lnTo>
                <a:lnTo>
                  <a:pt x="325" y="608"/>
                </a:lnTo>
                <a:lnTo>
                  <a:pt x="330" y="619"/>
                </a:lnTo>
                <a:lnTo>
                  <a:pt x="330" y="561"/>
                </a:lnTo>
                <a:lnTo>
                  <a:pt x="330" y="536"/>
                </a:lnTo>
                <a:lnTo>
                  <a:pt x="330" y="0"/>
                </a:lnTo>
                <a:lnTo>
                  <a:pt x="860" y="0"/>
                </a:lnTo>
                <a:lnTo>
                  <a:pt x="860" y="0"/>
                </a:lnTo>
                <a:lnTo>
                  <a:pt x="847" y="14"/>
                </a:lnTo>
                <a:lnTo>
                  <a:pt x="838" y="29"/>
                </a:lnTo>
                <a:lnTo>
                  <a:pt x="828" y="45"/>
                </a:lnTo>
                <a:lnTo>
                  <a:pt x="821" y="63"/>
                </a:lnTo>
                <a:lnTo>
                  <a:pt x="816" y="80"/>
                </a:lnTo>
                <a:lnTo>
                  <a:pt x="810" y="99"/>
                </a:lnTo>
                <a:lnTo>
                  <a:pt x="807" y="118"/>
                </a:lnTo>
                <a:lnTo>
                  <a:pt x="807" y="137"/>
                </a:lnTo>
                <a:lnTo>
                  <a:pt x="807" y="137"/>
                </a:lnTo>
                <a:lnTo>
                  <a:pt x="807" y="158"/>
                </a:lnTo>
                <a:lnTo>
                  <a:pt x="811" y="179"/>
                </a:lnTo>
                <a:lnTo>
                  <a:pt x="816" y="199"/>
                </a:lnTo>
                <a:lnTo>
                  <a:pt x="822" y="217"/>
                </a:lnTo>
                <a:lnTo>
                  <a:pt x="832" y="236"/>
                </a:lnTo>
                <a:lnTo>
                  <a:pt x="842" y="253"/>
                </a:lnTo>
                <a:lnTo>
                  <a:pt x="854" y="269"/>
                </a:lnTo>
                <a:lnTo>
                  <a:pt x="868" y="283"/>
                </a:lnTo>
                <a:lnTo>
                  <a:pt x="882" y="297"/>
                </a:lnTo>
                <a:lnTo>
                  <a:pt x="898" y="309"/>
                </a:lnTo>
                <a:lnTo>
                  <a:pt x="915" y="319"/>
                </a:lnTo>
                <a:lnTo>
                  <a:pt x="932" y="327"/>
                </a:lnTo>
                <a:lnTo>
                  <a:pt x="952" y="334"/>
                </a:lnTo>
                <a:lnTo>
                  <a:pt x="972" y="339"/>
                </a:lnTo>
                <a:lnTo>
                  <a:pt x="992" y="342"/>
                </a:lnTo>
                <a:lnTo>
                  <a:pt x="1014" y="344"/>
                </a:lnTo>
                <a:lnTo>
                  <a:pt x="1014" y="344"/>
                </a:lnTo>
                <a:lnTo>
                  <a:pt x="1034" y="342"/>
                </a:lnTo>
                <a:lnTo>
                  <a:pt x="1055" y="339"/>
                </a:lnTo>
                <a:lnTo>
                  <a:pt x="1074" y="334"/>
                </a:lnTo>
                <a:lnTo>
                  <a:pt x="1093" y="327"/>
                </a:lnTo>
                <a:lnTo>
                  <a:pt x="1111" y="319"/>
                </a:lnTo>
                <a:lnTo>
                  <a:pt x="1129" y="309"/>
                </a:lnTo>
                <a:lnTo>
                  <a:pt x="1144" y="297"/>
                </a:lnTo>
                <a:lnTo>
                  <a:pt x="1159" y="283"/>
                </a:lnTo>
                <a:lnTo>
                  <a:pt x="1173" y="269"/>
                </a:lnTo>
                <a:lnTo>
                  <a:pt x="1184" y="253"/>
                </a:lnTo>
                <a:lnTo>
                  <a:pt x="1195" y="236"/>
                </a:lnTo>
                <a:lnTo>
                  <a:pt x="1203" y="217"/>
                </a:lnTo>
                <a:lnTo>
                  <a:pt x="1210" y="199"/>
                </a:lnTo>
                <a:lnTo>
                  <a:pt x="1216" y="179"/>
                </a:lnTo>
                <a:lnTo>
                  <a:pt x="1218" y="158"/>
                </a:lnTo>
                <a:lnTo>
                  <a:pt x="1220" y="137"/>
                </a:lnTo>
                <a:lnTo>
                  <a:pt x="1220" y="137"/>
                </a:lnTo>
                <a:lnTo>
                  <a:pt x="1218" y="118"/>
                </a:lnTo>
                <a:lnTo>
                  <a:pt x="1216" y="99"/>
                </a:lnTo>
                <a:lnTo>
                  <a:pt x="1212" y="80"/>
                </a:lnTo>
                <a:lnTo>
                  <a:pt x="1206" y="63"/>
                </a:lnTo>
                <a:lnTo>
                  <a:pt x="1198" y="45"/>
                </a:lnTo>
                <a:lnTo>
                  <a:pt x="1190" y="29"/>
                </a:lnTo>
                <a:lnTo>
                  <a:pt x="1179" y="14"/>
                </a:lnTo>
                <a:lnTo>
                  <a:pt x="1168" y="0"/>
                </a:lnTo>
                <a:lnTo>
                  <a:pt x="2193" y="0"/>
                </a:lnTo>
                <a:lnTo>
                  <a:pt x="2193" y="590"/>
                </a:lnTo>
                <a:lnTo>
                  <a:pt x="2193" y="590"/>
                </a:lnTo>
                <a:lnTo>
                  <a:pt x="2172" y="591"/>
                </a:lnTo>
                <a:lnTo>
                  <a:pt x="2152" y="594"/>
                </a:lnTo>
                <a:lnTo>
                  <a:pt x="2131" y="599"/>
                </a:lnTo>
                <a:lnTo>
                  <a:pt x="2112" y="606"/>
                </a:lnTo>
                <a:lnTo>
                  <a:pt x="2094" y="614"/>
                </a:lnTo>
                <a:lnTo>
                  <a:pt x="2078" y="625"/>
                </a:lnTo>
                <a:lnTo>
                  <a:pt x="2061" y="636"/>
                </a:lnTo>
                <a:lnTo>
                  <a:pt x="2047" y="650"/>
                </a:lnTo>
                <a:lnTo>
                  <a:pt x="2034" y="665"/>
                </a:lnTo>
                <a:lnTo>
                  <a:pt x="2021" y="680"/>
                </a:lnTo>
                <a:lnTo>
                  <a:pt x="2012" y="698"/>
                </a:lnTo>
                <a:lnTo>
                  <a:pt x="2003" y="716"/>
                </a:lnTo>
                <a:lnTo>
                  <a:pt x="1995" y="734"/>
                </a:lnTo>
                <a:lnTo>
                  <a:pt x="1991" y="755"/>
                </a:lnTo>
                <a:lnTo>
                  <a:pt x="1988" y="775"/>
                </a:lnTo>
                <a:lnTo>
                  <a:pt x="1987" y="796"/>
                </a:lnTo>
                <a:lnTo>
                  <a:pt x="1987" y="796"/>
                </a:lnTo>
                <a:lnTo>
                  <a:pt x="1988" y="816"/>
                </a:lnTo>
                <a:lnTo>
                  <a:pt x="1991" y="837"/>
                </a:lnTo>
                <a:lnTo>
                  <a:pt x="1995" y="858"/>
                </a:lnTo>
                <a:lnTo>
                  <a:pt x="2003" y="877"/>
                </a:lnTo>
                <a:lnTo>
                  <a:pt x="2012" y="895"/>
                </a:lnTo>
                <a:lnTo>
                  <a:pt x="2021" y="911"/>
                </a:lnTo>
                <a:lnTo>
                  <a:pt x="2034" y="928"/>
                </a:lnTo>
                <a:lnTo>
                  <a:pt x="2047" y="942"/>
                </a:lnTo>
                <a:lnTo>
                  <a:pt x="2061" y="955"/>
                </a:lnTo>
                <a:lnTo>
                  <a:pt x="2078" y="968"/>
                </a:lnTo>
                <a:lnTo>
                  <a:pt x="2094" y="977"/>
                </a:lnTo>
                <a:lnTo>
                  <a:pt x="2112" y="986"/>
                </a:lnTo>
                <a:lnTo>
                  <a:pt x="2131" y="994"/>
                </a:lnTo>
                <a:lnTo>
                  <a:pt x="2152" y="998"/>
                </a:lnTo>
                <a:lnTo>
                  <a:pt x="2172" y="1002"/>
                </a:lnTo>
                <a:lnTo>
                  <a:pt x="2193" y="1002"/>
                </a:lnTo>
                <a:lnTo>
                  <a:pt x="2193" y="10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31">
            <a:extLst>
              <a:ext uri="{FF2B5EF4-FFF2-40B4-BE49-F238E27FC236}">
                <a16:creationId xmlns:a16="http://schemas.microsoft.com/office/drawing/2014/main" id="{7DF09F0B-BE18-BDC4-E8D1-490432F14F7F}"/>
              </a:ext>
            </a:extLst>
          </p:cNvPr>
          <p:cNvSpPr>
            <a:spLocks/>
          </p:cNvSpPr>
          <p:nvPr/>
        </p:nvSpPr>
        <p:spPr bwMode="auto">
          <a:xfrm>
            <a:off x="6122489" y="1293496"/>
            <a:ext cx="3040383" cy="2782692"/>
          </a:xfrm>
          <a:custGeom>
            <a:avLst/>
            <a:gdLst>
              <a:gd name="T0" fmla="*/ 770 w 1863"/>
              <a:gd name="T1" fmla="*/ 1382 h 1705"/>
              <a:gd name="T2" fmla="*/ 808 w 1863"/>
              <a:gd name="T3" fmla="*/ 1411 h 1705"/>
              <a:gd name="T4" fmla="*/ 838 w 1863"/>
              <a:gd name="T5" fmla="*/ 1449 h 1705"/>
              <a:gd name="T6" fmla="*/ 856 w 1863"/>
              <a:gd name="T7" fmla="*/ 1495 h 1705"/>
              <a:gd name="T8" fmla="*/ 860 w 1863"/>
              <a:gd name="T9" fmla="*/ 1533 h 1705"/>
              <a:gd name="T10" fmla="*/ 847 w 1863"/>
              <a:gd name="T11" fmla="*/ 1601 h 1705"/>
              <a:gd name="T12" fmla="*/ 810 w 1863"/>
              <a:gd name="T13" fmla="*/ 1656 h 1705"/>
              <a:gd name="T14" fmla="*/ 756 w 1863"/>
              <a:gd name="T15" fmla="*/ 1691 h 1705"/>
              <a:gd name="T16" fmla="*/ 689 w 1863"/>
              <a:gd name="T17" fmla="*/ 1705 h 1705"/>
              <a:gd name="T18" fmla="*/ 638 w 1863"/>
              <a:gd name="T19" fmla="*/ 1698 h 1705"/>
              <a:gd name="T20" fmla="*/ 579 w 1863"/>
              <a:gd name="T21" fmla="*/ 1667 h 1705"/>
              <a:gd name="T22" fmla="*/ 537 w 1863"/>
              <a:gd name="T23" fmla="*/ 1616 h 1705"/>
              <a:gd name="T24" fmla="*/ 517 w 1863"/>
              <a:gd name="T25" fmla="*/ 1551 h 1705"/>
              <a:gd name="T26" fmla="*/ 518 w 1863"/>
              <a:gd name="T27" fmla="*/ 1507 h 1705"/>
              <a:gd name="T28" fmla="*/ 533 w 1863"/>
              <a:gd name="T29" fmla="*/ 1460 h 1705"/>
              <a:gd name="T30" fmla="*/ 559 w 1863"/>
              <a:gd name="T31" fmla="*/ 1419 h 1705"/>
              <a:gd name="T32" fmla="*/ 596 w 1863"/>
              <a:gd name="T33" fmla="*/ 1388 h 1705"/>
              <a:gd name="T34" fmla="*/ 521 w 1863"/>
              <a:gd name="T35" fmla="*/ 1377 h 1705"/>
              <a:gd name="T36" fmla="*/ 15 w 1863"/>
              <a:gd name="T37" fmla="*/ 850 h 1705"/>
              <a:gd name="T38" fmla="*/ 84 w 1863"/>
              <a:gd name="T39" fmla="*/ 886 h 1705"/>
              <a:gd name="T40" fmla="*/ 143 w 1863"/>
              <a:gd name="T41" fmla="*/ 894 h 1705"/>
              <a:gd name="T42" fmla="*/ 223 w 1863"/>
              <a:gd name="T43" fmla="*/ 878 h 1705"/>
              <a:gd name="T44" fmla="*/ 289 w 1863"/>
              <a:gd name="T45" fmla="*/ 834 h 1705"/>
              <a:gd name="T46" fmla="*/ 333 w 1863"/>
              <a:gd name="T47" fmla="*/ 769 h 1705"/>
              <a:gd name="T48" fmla="*/ 349 w 1863"/>
              <a:gd name="T49" fmla="*/ 688 h 1705"/>
              <a:gd name="T50" fmla="*/ 339 w 1863"/>
              <a:gd name="T51" fmla="*/ 626 h 1705"/>
              <a:gd name="T52" fmla="*/ 302 w 1863"/>
              <a:gd name="T53" fmla="*/ 557 h 1705"/>
              <a:gd name="T54" fmla="*/ 242 w 1863"/>
              <a:gd name="T55" fmla="*/ 506 h 1705"/>
              <a:gd name="T56" fmla="*/ 163 w 1863"/>
              <a:gd name="T57" fmla="*/ 483 h 1705"/>
              <a:gd name="T58" fmla="*/ 103 w 1863"/>
              <a:gd name="T59" fmla="*/ 486 h 1705"/>
              <a:gd name="T60" fmla="*/ 30 w 1863"/>
              <a:gd name="T61" fmla="*/ 515 h 1705"/>
              <a:gd name="T62" fmla="*/ 738 w 1863"/>
              <a:gd name="T63" fmla="*/ 0 h 1705"/>
              <a:gd name="T64" fmla="*/ 738 w 1863"/>
              <a:gd name="T65" fmla="*/ 27 h 1705"/>
              <a:gd name="T66" fmla="*/ 763 w 1863"/>
              <a:gd name="T67" fmla="*/ 104 h 1705"/>
              <a:gd name="T68" fmla="*/ 812 w 1863"/>
              <a:gd name="T69" fmla="*/ 164 h 1705"/>
              <a:gd name="T70" fmla="*/ 882 w 1863"/>
              <a:gd name="T71" fmla="*/ 203 h 1705"/>
              <a:gd name="T72" fmla="*/ 944 w 1863"/>
              <a:gd name="T73" fmla="*/ 211 h 1705"/>
              <a:gd name="T74" fmla="*/ 1024 w 1863"/>
              <a:gd name="T75" fmla="*/ 196 h 1705"/>
              <a:gd name="T76" fmla="*/ 1090 w 1863"/>
              <a:gd name="T77" fmla="*/ 150 h 1705"/>
              <a:gd name="T78" fmla="*/ 1134 w 1863"/>
              <a:gd name="T79" fmla="*/ 86 h 1705"/>
              <a:gd name="T80" fmla="*/ 1150 w 1863"/>
              <a:gd name="T81" fmla="*/ 5 h 1705"/>
              <a:gd name="T82" fmla="*/ 1863 w 1863"/>
              <a:gd name="T83" fmla="*/ 491 h 1705"/>
              <a:gd name="T84" fmla="*/ 1803 w 1863"/>
              <a:gd name="T85" fmla="*/ 502 h 1705"/>
              <a:gd name="T86" fmla="*/ 1735 w 1863"/>
              <a:gd name="T87" fmla="*/ 541 h 1705"/>
              <a:gd name="T88" fmla="*/ 1685 w 1863"/>
              <a:gd name="T89" fmla="*/ 601 h 1705"/>
              <a:gd name="T90" fmla="*/ 1662 w 1863"/>
              <a:gd name="T91" fmla="*/ 677 h 1705"/>
              <a:gd name="T92" fmla="*/ 1666 w 1863"/>
              <a:gd name="T93" fmla="*/ 739 h 1705"/>
              <a:gd name="T94" fmla="*/ 1696 w 1863"/>
              <a:gd name="T95" fmla="*/ 812 h 1705"/>
              <a:gd name="T96" fmla="*/ 1750 w 1863"/>
              <a:gd name="T97" fmla="*/ 868 h 1705"/>
              <a:gd name="T98" fmla="*/ 1823 w 1863"/>
              <a:gd name="T99" fmla="*/ 900 h 1705"/>
              <a:gd name="T100" fmla="*/ 860 w 1863"/>
              <a:gd name="T101" fmla="*/ 1377 h 1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863" h="1705">
                <a:moveTo>
                  <a:pt x="822" y="1377"/>
                </a:moveTo>
                <a:lnTo>
                  <a:pt x="759" y="1377"/>
                </a:lnTo>
                <a:lnTo>
                  <a:pt x="759" y="1377"/>
                </a:lnTo>
                <a:lnTo>
                  <a:pt x="770" y="1382"/>
                </a:lnTo>
                <a:lnTo>
                  <a:pt x="779" y="1388"/>
                </a:lnTo>
                <a:lnTo>
                  <a:pt x="790" y="1394"/>
                </a:lnTo>
                <a:lnTo>
                  <a:pt x="800" y="1403"/>
                </a:lnTo>
                <a:lnTo>
                  <a:pt x="808" y="1411"/>
                </a:lnTo>
                <a:lnTo>
                  <a:pt x="816" y="1419"/>
                </a:lnTo>
                <a:lnTo>
                  <a:pt x="825" y="1429"/>
                </a:lnTo>
                <a:lnTo>
                  <a:pt x="832" y="1438"/>
                </a:lnTo>
                <a:lnTo>
                  <a:pt x="838" y="1449"/>
                </a:lnTo>
                <a:lnTo>
                  <a:pt x="844" y="1460"/>
                </a:lnTo>
                <a:lnTo>
                  <a:pt x="849" y="1471"/>
                </a:lnTo>
                <a:lnTo>
                  <a:pt x="854" y="1482"/>
                </a:lnTo>
                <a:lnTo>
                  <a:pt x="856" y="1495"/>
                </a:lnTo>
                <a:lnTo>
                  <a:pt x="859" y="1507"/>
                </a:lnTo>
                <a:lnTo>
                  <a:pt x="860" y="1521"/>
                </a:lnTo>
                <a:lnTo>
                  <a:pt x="860" y="1533"/>
                </a:lnTo>
                <a:lnTo>
                  <a:pt x="860" y="1533"/>
                </a:lnTo>
                <a:lnTo>
                  <a:pt x="859" y="1551"/>
                </a:lnTo>
                <a:lnTo>
                  <a:pt x="856" y="1568"/>
                </a:lnTo>
                <a:lnTo>
                  <a:pt x="852" y="1584"/>
                </a:lnTo>
                <a:lnTo>
                  <a:pt x="847" y="1601"/>
                </a:lnTo>
                <a:lnTo>
                  <a:pt x="840" y="1616"/>
                </a:lnTo>
                <a:lnTo>
                  <a:pt x="832" y="1630"/>
                </a:lnTo>
                <a:lnTo>
                  <a:pt x="821" y="1643"/>
                </a:lnTo>
                <a:lnTo>
                  <a:pt x="810" y="1656"/>
                </a:lnTo>
                <a:lnTo>
                  <a:pt x="797" y="1667"/>
                </a:lnTo>
                <a:lnTo>
                  <a:pt x="785" y="1676"/>
                </a:lnTo>
                <a:lnTo>
                  <a:pt x="770" y="1685"/>
                </a:lnTo>
                <a:lnTo>
                  <a:pt x="756" y="1691"/>
                </a:lnTo>
                <a:lnTo>
                  <a:pt x="739" y="1698"/>
                </a:lnTo>
                <a:lnTo>
                  <a:pt x="723" y="1702"/>
                </a:lnTo>
                <a:lnTo>
                  <a:pt x="706" y="1705"/>
                </a:lnTo>
                <a:lnTo>
                  <a:pt x="689" y="1705"/>
                </a:lnTo>
                <a:lnTo>
                  <a:pt x="689" y="1705"/>
                </a:lnTo>
                <a:lnTo>
                  <a:pt x="671" y="1705"/>
                </a:lnTo>
                <a:lnTo>
                  <a:pt x="654" y="1702"/>
                </a:lnTo>
                <a:lnTo>
                  <a:pt x="638" y="1698"/>
                </a:lnTo>
                <a:lnTo>
                  <a:pt x="621" y="1691"/>
                </a:lnTo>
                <a:lnTo>
                  <a:pt x="606" y="1685"/>
                </a:lnTo>
                <a:lnTo>
                  <a:pt x="592" y="1676"/>
                </a:lnTo>
                <a:lnTo>
                  <a:pt x="579" y="1667"/>
                </a:lnTo>
                <a:lnTo>
                  <a:pt x="566" y="1656"/>
                </a:lnTo>
                <a:lnTo>
                  <a:pt x="555" y="1643"/>
                </a:lnTo>
                <a:lnTo>
                  <a:pt x="546" y="1630"/>
                </a:lnTo>
                <a:lnTo>
                  <a:pt x="537" y="1616"/>
                </a:lnTo>
                <a:lnTo>
                  <a:pt x="530" y="1601"/>
                </a:lnTo>
                <a:lnTo>
                  <a:pt x="524" y="1584"/>
                </a:lnTo>
                <a:lnTo>
                  <a:pt x="519" y="1568"/>
                </a:lnTo>
                <a:lnTo>
                  <a:pt x="517" y="1551"/>
                </a:lnTo>
                <a:lnTo>
                  <a:pt x="517" y="1533"/>
                </a:lnTo>
                <a:lnTo>
                  <a:pt x="517" y="1533"/>
                </a:lnTo>
                <a:lnTo>
                  <a:pt x="517" y="1521"/>
                </a:lnTo>
                <a:lnTo>
                  <a:pt x="518" y="1507"/>
                </a:lnTo>
                <a:lnTo>
                  <a:pt x="521" y="1495"/>
                </a:lnTo>
                <a:lnTo>
                  <a:pt x="524" y="1482"/>
                </a:lnTo>
                <a:lnTo>
                  <a:pt x="528" y="1471"/>
                </a:lnTo>
                <a:lnTo>
                  <a:pt x="533" y="1460"/>
                </a:lnTo>
                <a:lnTo>
                  <a:pt x="539" y="1449"/>
                </a:lnTo>
                <a:lnTo>
                  <a:pt x="544" y="1438"/>
                </a:lnTo>
                <a:lnTo>
                  <a:pt x="552" y="1429"/>
                </a:lnTo>
                <a:lnTo>
                  <a:pt x="559" y="1419"/>
                </a:lnTo>
                <a:lnTo>
                  <a:pt x="568" y="1411"/>
                </a:lnTo>
                <a:lnTo>
                  <a:pt x="577" y="1403"/>
                </a:lnTo>
                <a:lnTo>
                  <a:pt x="587" y="1394"/>
                </a:lnTo>
                <a:lnTo>
                  <a:pt x="596" y="1388"/>
                </a:lnTo>
                <a:lnTo>
                  <a:pt x="607" y="1382"/>
                </a:lnTo>
                <a:lnTo>
                  <a:pt x="618" y="1377"/>
                </a:lnTo>
                <a:lnTo>
                  <a:pt x="555" y="1377"/>
                </a:lnTo>
                <a:lnTo>
                  <a:pt x="521" y="1377"/>
                </a:lnTo>
                <a:lnTo>
                  <a:pt x="0" y="1377"/>
                </a:lnTo>
                <a:lnTo>
                  <a:pt x="0" y="838"/>
                </a:lnTo>
                <a:lnTo>
                  <a:pt x="0" y="838"/>
                </a:lnTo>
                <a:lnTo>
                  <a:pt x="15" y="850"/>
                </a:lnTo>
                <a:lnTo>
                  <a:pt x="30" y="861"/>
                </a:lnTo>
                <a:lnTo>
                  <a:pt x="47" y="871"/>
                </a:lnTo>
                <a:lnTo>
                  <a:pt x="64" y="879"/>
                </a:lnTo>
                <a:lnTo>
                  <a:pt x="84" y="886"/>
                </a:lnTo>
                <a:lnTo>
                  <a:pt x="103" y="890"/>
                </a:lnTo>
                <a:lnTo>
                  <a:pt x="122" y="894"/>
                </a:lnTo>
                <a:lnTo>
                  <a:pt x="143" y="894"/>
                </a:lnTo>
                <a:lnTo>
                  <a:pt x="143" y="894"/>
                </a:lnTo>
                <a:lnTo>
                  <a:pt x="163" y="893"/>
                </a:lnTo>
                <a:lnTo>
                  <a:pt x="184" y="890"/>
                </a:lnTo>
                <a:lnTo>
                  <a:pt x="205" y="886"/>
                </a:lnTo>
                <a:lnTo>
                  <a:pt x="223" y="878"/>
                </a:lnTo>
                <a:lnTo>
                  <a:pt x="242" y="869"/>
                </a:lnTo>
                <a:lnTo>
                  <a:pt x="258" y="860"/>
                </a:lnTo>
                <a:lnTo>
                  <a:pt x="275" y="847"/>
                </a:lnTo>
                <a:lnTo>
                  <a:pt x="289" y="834"/>
                </a:lnTo>
                <a:lnTo>
                  <a:pt x="302" y="820"/>
                </a:lnTo>
                <a:lnTo>
                  <a:pt x="315" y="803"/>
                </a:lnTo>
                <a:lnTo>
                  <a:pt x="324" y="787"/>
                </a:lnTo>
                <a:lnTo>
                  <a:pt x="333" y="769"/>
                </a:lnTo>
                <a:lnTo>
                  <a:pt x="339" y="750"/>
                </a:lnTo>
                <a:lnTo>
                  <a:pt x="345" y="729"/>
                </a:lnTo>
                <a:lnTo>
                  <a:pt x="348" y="708"/>
                </a:lnTo>
                <a:lnTo>
                  <a:pt x="349" y="688"/>
                </a:lnTo>
                <a:lnTo>
                  <a:pt x="349" y="688"/>
                </a:lnTo>
                <a:lnTo>
                  <a:pt x="348" y="667"/>
                </a:lnTo>
                <a:lnTo>
                  <a:pt x="345" y="647"/>
                </a:lnTo>
                <a:lnTo>
                  <a:pt x="339" y="626"/>
                </a:lnTo>
                <a:lnTo>
                  <a:pt x="333" y="608"/>
                </a:lnTo>
                <a:lnTo>
                  <a:pt x="324" y="590"/>
                </a:lnTo>
                <a:lnTo>
                  <a:pt x="315" y="572"/>
                </a:lnTo>
                <a:lnTo>
                  <a:pt x="302" y="557"/>
                </a:lnTo>
                <a:lnTo>
                  <a:pt x="289" y="542"/>
                </a:lnTo>
                <a:lnTo>
                  <a:pt x="275" y="528"/>
                </a:lnTo>
                <a:lnTo>
                  <a:pt x="258" y="517"/>
                </a:lnTo>
                <a:lnTo>
                  <a:pt x="242" y="506"/>
                </a:lnTo>
                <a:lnTo>
                  <a:pt x="223" y="498"/>
                </a:lnTo>
                <a:lnTo>
                  <a:pt x="205" y="491"/>
                </a:lnTo>
                <a:lnTo>
                  <a:pt x="184" y="486"/>
                </a:lnTo>
                <a:lnTo>
                  <a:pt x="163" y="483"/>
                </a:lnTo>
                <a:lnTo>
                  <a:pt x="143" y="482"/>
                </a:lnTo>
                <a:lnTo>
                  <a:pt x="143" y="482"/>
                </a:lnTo>
                <a:lnTo>
                  <a:pt x="122" y="483"/>
                </a:lnTo>
                <a:lnTo>
                  <a:pt x="103" y="486"/>
                </a:lnTo>
                <a:lnTo>
                  <a:pt x="84" y="490"/>
                </a:lnTo>
                <a:lnTo>
                  <a:pt x="64" y="497"/>
                </a:lnTo>
                <a:lnTo>
                  <a:pt x="47" y="505"/>
                </a:lnTo>
                <a:lnTo>
                  <a:pt x="30" y="515"/>
                </a:lnTo>
                <a:lnTo>
                  <a:pt x="15" y="526"/>
                </a:lnTo>
                <a:lnTo>
                  <a:pt x="0" y="539"/>
                </a:lnTo>
                <a:lnTo>
                  <a:pt x="0" y="0"/>
                </a:lnTo>
                <a:lnTo>
                  <a:pt x="738" y="0"/>
                </a:lnTo>
                <a:lnTo>
                  <a:pt x="738" y="0"/>
                </a:lnTo>
                <a:lnTo>
                  <a:pt x="738" y="5"/>
                </a:lnTo>
                <a:lnTo>
                  <a:pt x="738" y="5"/>
                </a:lnTo>
                <a:lnTo>
                  <a:pt x="738" y="27"/>
                </a:lnTo>
                <a:lnTo>
                  <a:pt x="742" y="46"/>
                </a:lnTo>
                <a:lnTo>
                  <a:pt x="746" y="66"/>
                </a:lnTo>
                <a:lnTo>
                  <a:pt x="753" y="86"/>
                </a:lnTo>
                <a:lnTo>
                  <a:pt x="763" y="104"/>
                </a:lnTo>
                <a:lnTo>
                  <a:pt x="772" y="120"/>
                </a:lnTo>
                <a:lnTo>
                  <a:pt x="785" y="137"/>
                </a:lnTo>
                <a:lnTo>
                  <a:pt x="799" y="150"/>
                </a:lnTo>
                <a:lnTo>
                  <a:pt x="812" y="164"/>
                </a:lnTo>
                <a:lnTo>
                  <a:pt x="829" y="176"/>
                </a:lnTo>
                <a:lnTo>
                  <a:pt x="845" y="186"/>
                </a:lnTo>
                <a:lnTo>
                  <a:pt x="863" y="196"/>
                </a:lnTo>
                <a:lnTo>
                  <a:pt x="882" y="203"/>
                </a:lnTo>
                <a:lnTo>
                  <a:pt x="902" y="207"/>
                </a:lnTo>
                <a:lnTo>
                  <a:pt x="922" y="211"/>
                </a:lnTo>
                <a:lnTo>
                  <a:pt x="944" y="211"/>
                </a:lnTo>
                <a:lnTo>
                  <a:pt x="944" y="211"/>
                </a:lnTo>
                <a:lnTo>
                  <a:pt x="965" y="211"/>
                </a:lnTo>
                <a:lnTo>
                  <a:pt x="985" y="207"/>
                </a:lnTo>
                <a:lnTo>
                  <a:pt x="1005" y="203"/>
                </a:lnTo>
                <a:lnTo>
                  <a:pt x="1024" y="196"/>
                </a:lnTo>
                <a:lnTo>
                  <a:pt x="1042" y="186"/>
                </a:lnTo>
                <a:lnTo>
                  <a:pt x="1060" y="176"/>
                </a:lnTo>
                <a:lnTo>
                  <a:pt x="1075" y="164"/>
                </a:lnTo>
                <a:lnTo>
                  <a:pt x="1090" y="150"/>
                </a:lnTo>
                <a:lnTo>
                  <a:pt x="1104" y="137"/>
                </a:lnTo>
                <a:lnTo>
                  <a:pt x="1115" y="120"/>
                </a:lnTo>
                <a:lnTo>
                  <a:pt x="1126" y="104"/>
                </a:lnTo>
                <a:lnTo>
                  <a:pt x="1134" y="86"/>
                </a:lnTo>
                <a:lnTo>
                  <a:pt x="1141" y="66"/>
                </a:lnTo>
                <a:lnTo>
                  <a:pt x="1146" y="46"/>
                </a:lnTo>
                <a:lnTo>
                  <a:pt x="1149" y="27"/>
                </a:lnTo>
                <a:lnTo>
                  <a:pt x="1150" y="5"/>
                </a:lnTo>
                <a:lnTo>
                  <a:pt x="1150" y="5"/>
                </a:lnTo>
                <a:lnTo>
                  <a:pt x="1150" y="0"/>
                </a:lnTo>
                <a:lnTo>
                  <a:pt x="1863" y="0"/>
                </a:lnTo>
                <a:lnTo>
                  <a:pt x="1863" y="491"/>
                </a:lnTo>
                <a:lnTo>
                  <a:pt x="1863" y="491"/>
                </a:lnTo>
                <a:lnTo>
                  <a:pt x="1842" y="493"/>
                </a:lnTo>
                <a:lnTo>
                  <a:pt x="1823" y="497"/>
                </a:lnTo>
                <a:lnTo>
                  <a:pt x="1803" y="502"/>
                </a:lnTo>
                <a:lnTo>
                  <a:pt x="1784" y="509"/>
                </a:lnTo>
                <a:lnTo>
                  <a:pt x="1766" y="517"/>
                </a:lnTo>
                <a:lnTo>
                  <a:pt x="1750" y="528"/>
                </a:lnTo>
                <a:lnTo>
                  <a:pt x="1735" y="541"/>
                </a:lnTo>
                <a:lnTo>
                  <a:pt x="1721" y="553"/>
                </a:lnTo>
                <a:lnTo>
                  <a:pt x="1707" y="568"/>
                </a:lnTo>
                <a:lnTo>
                  <a:pt x="1696" y="583"/>
                </a:lnTo>
                <a:lnTo>
                  <a:pt x="1685" y="601"/>
                </a:lnTo>
                <a:lnTo>
                  <a:pt x="1677" y="619"/>
                </a:lnTo>
                <a:lnTo>
                  <a:pt x="1670" y="637"/>
                </a:lnTo>
                <a:lnTo>
                  <a:pt x="1666" y="656"/>
                </a:lnTo>
                <a:lnTo>
                  <a:pt x="1662" y="677"/>
                </a:lnTo>
                <a:lnTo>
                  <a:pt x="1662" y="697"/>
                </a:lnTo>
                <a:lnTo>
                  <a:pt x="1662" y="697"/>
                </a:lnTo>
                <a:lnTo>
                  <a:pt x="1662" y="718"/>
                </a:lnTo>
                <a:lnTo>
                  <a:pt x="1666" y="739"/>
                </a:lnTo>
                <a:lnTo>
                  <a:pt x="1670" y="758"/>
                </a:lnTo>
                <a:lnTo>
                  <a:pt x="1677" y="777"/>
                </a:lnTo>
                <a:lnTo>
                  <a:pt x="1685" y="795"/>
                </a:lnTo>
                <a:lnTo>
                  <a:pt x="1696" y="812"/>
                </a:lnTo>
                <a:lnTo>
                  <a:pt x="1707" y="828"/>
                </a:lnTo>
                <a:lnTo>
                  <a:pt x="1721" y="842"/>
                </a:lnTo>
                <a:lnTo>
                  <a:pt x="1735" y="856"/>
                </a:lnTo>
                <a:lnTo>
                  <a:pt x="1750" y="868"/>
                </a:lnTo>
                <a:lnTo>
                  <a:pt x="1766" y="878"/>
                </a:lnTo>
                <a:lnTo>
                  <a:pt x="1784" y="887"/>
                </a:lnTo>
                <a:lnTo>
                  <a:pt x="1803" y="894"/>
                </a:lnTo>
                <a:lnTo>
                  <a:pt x="1823" y="900"/>
                </a:lnTo>
                <a:lnTo>
                  <a:pt x="1842" y="902"/>
                </a:lnTo>
                <a:lnTo>
                  <a:pt x="1863" y="904"/>
                </a:lnTo>
                <a:lnTo>
                  <a:pt x="1863" y="1377"/>
                </a:lnTo>
                <a:lnTo>
                  <a:pt x="860" y="1377"/>
                </a:lnTo>
                <a:lnTo>
                  <a:pt x="822" y="1377"/>
                </a:lnTo>
                <a:lnTo>
                  <a:pt x="822" y="137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2">
            <a:extLst>
              <a:ext uri="{FF2B5EF4-FFF2-40B4-BE49-F238E27FC236}">
                <a16:creationId xmlns:a16="http://schemas.microsoft.com/office/drawing/2014/main" id="{E86FBC34-CE25-45D2-7FEA-1D4EEF4428DC}"/>
              </a:ext>
            </a:extLst>
          </p:cNvPr>
          <p:cNvSpPr>
            <a:spLocks/>
          </p:cNvSpPr>
          <p:nvPr/>
        </p:nvSpPr>
        <p:spPr bwMode="auto">
          <a:xfrm>
            <a:off x="3051099" y="1294970"/>
            <a:ext cx="3585465" cy="2245739"/>
          </a:xfrm>
          <a:custGeom>
            <a:avLst/>
            <a:gdLst>
              <a:gd name="T0" fmla="*/ 1868 w 2197"/>
              <a:gd name="T1" fmla="*/ 623 h 1376"/>
              <a:gd name="T2" fmla="*/ 1887 w 2197"/>
              <a:gd name="T3" fmla="*/ 590 h 1376"/>
              <a:gd name="T4" fmla="*/ 1915 w 2197"/>
              <a:gd name="T5" fmla="*/ 561 h 1376"/>
              <a:gd name="T6" fmla="*/ 1946 w 2197"/>
              <a:gd name="T7" fmla="*/ 540 h 1376"/>
              <a:gd name="T8" fmla="*/ 1984 w 2197"/>
              <a:gd name="T9" fmla="*/ 527 h 1376"/>
              <a:gd name="T10" fmla="*/ 2025 w 2197"/>
              <a:gd name="T11" fmla="*/ 521 h 1376"/>
              <a:gd name="T12" fmla="*/ 2059 w 2197"/>
              <a:gd name="T13" fmla="*/ 525 h 1376"/>
              <a:gd name="T14" fmla="*/ 2107 w 2197"/>
              <a:gd name="T15" fmla="*/ 542 h 1376"/>
              <a:gd name="T16" fmla="*/ 2146 w 2197"/>
              <a:gd name="T17" fmla="*/ 572 h 1376"/>
              <a:gd name="T18" fmla="*/ 2176 w 2197"/>
              <a:gd name="T19" fmla="*/ 610 h 1376"/>
              <a:gd name="T20" fmla="*/ 2194 w 2197"/>
              <a:gd name="T21" fmla="*/ 659 h 1376"/>
              <a:gd name="T22" fmla="*/ 2197 w 2197"/>
              <a:gd name="T23" fmla="*/ 693 h 1376"/>
              <a:gd name="T24" fmla="*/ 2188 w 2197"/>
              <a:gd name="T25" fmla="*/ 744 h 1376"/>
              <a:gd name="T26" fmla="*/ 2168 w 2197"/>
              <a:gd name="T27" fmla="*/ 789 h 1376"/>
              <a:gd name="T28" fmla="*/ 2135 w 2197"/>
              <a:gd name="T29" fmla="*/ 826 h 1376"/>
              <a:gd name="T30" fmla="*/ 2092 w 2197"/>
              <a:gd name="T31" fmla="*/ 851 h 1376"/>
              <a:gd name="T32" fmla="*/ 2043 w 2197"/>
              <a:gd name="T33" fmla="*/ 865 h 1376"/>
              <a:gd name="T34" fmla="*/ 2011 w 2197"/>
              <a:gd name="T35" fmla="*/ 865 h 1376"/>
              <a:gd name="T36" fmla="*/ 1971 w 2197"/>
              <a:gd name="T37" fmla="*/ 856 h 1376"/>
              <a:gd name="T38" fmla="*/ 1935 w 2197"/>
              <a:gd name="T39" fmla="*/ 840 h 1376"/>
              <a:gd name="T40" fmla="*/ 1905 w 2197"/>
              <a:gd name="T41" fmla="*/ 817 h 1376"/>
              <a:gd name="T42" fmla="*/ 1880 w 2197"/>
              <a:gd name="T43" fmla="*/ 786 h 1376"/>
              <a:gd name="T44" fmla="*/ 1863 w 2197"/>
              <a:gd name="T45" fmla="*/ 751 h 1376"/>
              <a:gd name="T46" fmla="*/ 1863 w 2197"/>
              <a:gd name="T47" fmla="*/ 1376 h 1376"/>
              <a:gd name="T48" fmla="*/ 1347 w 2197"/>
              <a:gd name="T49" fmla="*/ 1362 h 1376"/>
              <a:gd name="T50" fmla="*/ 1369 w 2197"/>
              <a:gd name="T51" fmla="*/ 1317 h 1376"/>
              <a:gd name="T52" fmla="*/ 1380 w 2197"/>
              <a:gd name="T53" fmla="*/ 1266 h 1376"/>
              <a:gd name="T54" fmla="*/ 1380 w 2197"/>
              <a:gd name="T55" fmla="*/ 1228 h 1376"/>
              <a:gd name="T56" fmla="*/ 1365 w 2197"/>
              <a:gd name="T57" fmla="*/ 1169 h 1376"/>
              <a:gd name="T58" fmla="*/ 1333 w 2197"/>
              <a:gd name="T59" fmla="*/ 1118 h 1376"/>
              <a:gd name="T60" fmla="*/ 1289 w 2197"/>
              <a:gd name="T61" fmla="*/ 1078 h 1376"/>
              <a:gd name="T62" fmla="*/ 1236 w 2197"/>
              <a:gd name="T63" fmla="*/ 1052 h 1376"/>
              <a:gd name="T64" fmla="*/ 1174 w 2197"/>
              <a:gd name="T65" fmla="*/ 1042 h 1376"/>
              <a:gd name="T66" fmla="*/ 1133 w 2197"/>
              <a:gd name="T67" fmla="*/ 1046 h 1376"/>
              <a:gd name="T68" fmla="*/ 1076 w 2197"/>
              <a:gd name="T69" fmla="*/ 1067 h 1376"/>
              <a:gd name="T70" fmla="*/ 1028 w 2197"/>
              <a:gd name="T71" fmla="*/ 1103 h 1376"/>
              <a:gd name="T72" fmla="*/ 992 w 2197"/>
              <a:gd name="T73" fmla="*/ 1151 h 1376"/>
              <a:gd name="T74" fmla="*/ 972 w 2197"/>
              <a:gd name="T75" fmla="*/ 1207 h 1376"/>
              <a:gd name="T76" fmla="*/ 968 w 2197"/>
              <a:gd name="T77" fmla="*/ 1248 h 1376"/>
              <a:gd name="T78" fmla="*/ 975 w 2197"/>
              <a:gd name="T79" fmla="*/ 1301 h 1376"/>
              <a:gd name="T80" fmla="*/ 994 w 2197"/>
              <a:gd name="T81" fmla="*/ 1349 h 1376"/>
              <a:gd name="T82" fmla="*/ 0 w 2197"/>
              <a:gd name="T83" fmla="*/ 1376 h 1376"/>
              <a:gd name="T84" fmla="*/ 668 w 2197"/>
              <a:gd name="T85" fmla="*/ 0 h 1376"/>
              <a:gd name="T86" fmla="*/ 669 w 2197"/>
              <a:gd name="T87" fmla="*/ 26 h 1376"/>
              <a:gd name="T88" fmla="*/ 685 w 2197"/>
              <a:gd name="T89" fmla="*/ 85 h 1376"/>
              <a:gd name="T90" fmla="*/ 716 w 2197"/>
              <a:gd name="T91" fmla="*/ 136 h 1376"/>
              <a:gd name="T92" fmla="*/ 759 w 2197"/>
              <a:gd name="T93" fmla="*/ 176 h 1376"/>
              <a:gd name="T94" fmla="*/ 814 w 2197"/>
              <a:gd name="T95" fmla="*/ 202 h 1376"/>
              <a:gd name="T96" fmla="*/ 874 w 2197"/>
              <a:gd name="T97" fmla="*/ 212 h 1376"/>
              <a:gd name="T98" fmla="*/ 917 w 2197"/>
              <a:gd name="T99" fmla="*/ 208 h 1376"/>
              <a:gd name="T100" fmla="*/ 973 w 2197"/>
              <a:gd name="T101" fmla="*/ 187 h 1376"/>
              <a:gd name="T102" fmla="*/ 1021 w 2197"/>
              <a:gd name="T103" fmla="*/ 151 h 1376"/>
              <a:gd name="T104" fmla="*/ 1056 w 2197"/>
              <a:gd name="T105" fmla="*/ 103 h 1376"/>
              <a:gd name="T106" fmla="*/ 1076 w 2197"/>
              <a:gd name="T107" fmla="*/ 47 h 1376"/>
              <a:gd name="T108" fmla="*/ 1082 w 2197"/>
              <a:gd name="T109" fmla="*/ 5 h 1376"/>
              <a:gd name="T110" fmla="*/ 1863 w 2197"/>
              <a:gd name="T111" fmla="*/ 565 h 1376"/>
              <a:gd name="T112" fmla="*/ 1863 w 2197"/>
              <a:gd name="T113" fmla="*/ 635 h 1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97" h="1376">
                <a:moveTo>
                  <a:pt x="1863" y="635"/>
                </a:moveTo>
                <a:lnTo>
                  <a:pt x="1863" y="635"/>
                </a:lnTo>
                <a:lnTo>
                  <a:pt x="1868" y="623"/>
                </a:lnTo>
                <a:lnTo>
                  <a:pt x="1874" y="612"/>
                </a:lnTo>
                <a:lnTo>
                  <a:pt x="1880" y="601"/>
                </a:lnTo>
                <a:lnTo>
                  <a:pt x="1887" y="590"/>
                </a:lnTo>
                <a:lnTo>
                  <a:pt x="1896" y="580"/>
                </a:lnTo>
                <a:lnTo>
                  <a:pt x="1905" y="571"/>
                </a:lnTo>
                <a:lnTo>
                  <a:pt x="1915" y="561"/>
                </a:lnTo>
                <a:lnTo>
                  <a:pt x="1924" y="553"/>
                </a:lnTo>
                <a:lnTo>
                  <a:pt x="1935" y="546"/>
                </a:lnTo>
                <a:lnTo>
                  <a:pt x="1946" y="540"/>
                </a:lnTo>
                <a:lnTo>
                  <a:pt x="1959" y="535"/>
                </a:lnTo>
                <a:lnTo>
                  <a:pt x="1971" y="529"/>
                </a:lnTo>
                <a:lnTo>
                  <a:pt x="1984" y="527"/>
                </a:lnTo>
                <a:lnTo>
                  <a:pt x="1997" y="524"/>
                </a:lnTo>
                <a:lnTo>
                  <a:pt x="2011" y="521"/>
                </a:lnTo>
                <a:lnTo>
                  <a:pt x="2025" y="521"/>
                </a:lnTo>
                <a:lnTo>
                  <a:pt x="2025" y="521"/>
                </a:lnTo>
                <a:lnTo>
                  <a:pt x="2043" y="522"/>
                </a:lnTo>
                <a:lnTo>
                  <a:pt x="2059" y="525"/>
                </a:lnTo>
                <a:lnTo>
                  <a:pt x="2076" y="529"/>
                </a:lnTo>
                <a:lnTo>
                  <a:pt x="2092" y="535"/>
                </a:lnTo>
                <a:lnTo>
                  <a:pt x="2107" y="542"/>
                </a:lnTo>
                <a:lnTo>
                  <a:pt x="2121" y="550"/>
                </a:lnTo>
                <a:lnTo>
                  <a:pt x="2135" y="561"/>
                </a:lnTo>
                <a:lnTo>
                  <a:pt x="2146" y="572"/>
                </a:lnTo>
                <a:lnTo>
                  <a:pt x="2158" y="584"/>
                </a:lnTo>
                <a:lnTo>
                  <a:pt x="2168" y="597"/>
                </a:lnTo>
                <a:lnTo>
                  <a:pt x="2176" y="610"/>
                </a:lnTo>
                <a:lnTo>
                  <a:pt x="2183" y="626"/>
                </a:lnTo>
                <a:lnTo>
                  <a:pt x="2188" y="642"/>
                </a:lnTo>
                <a:lnTo>
                  <a:pt x="2194" y="659"/>
                </a:lnTo>
                <a:lnTo>
                  <a:pt x="2195" y="675"/>
                </a:lnTo>
                <a:lnTo>
                  <a:pt x="2197" y="693"/>
                </a:lnTo>
                <a:lnTo>
                  <a:pt x="2197" y="693"/>
                </a:lnTo>
                <a:lnTo>
                  <a:pt x="2195" y="711"/>
                </a:lnTo>
                <a:lnTo>
                  <a:pt x="2194" y="727"/>
                </a:lnTo>
                <a:lnTo>
                  <a:pt x="2188" y="744"/>
                </a:lnTo>
                <a:lnTo>
                  <a:pt x="2183" y="760"/>
                </a:lnTo>
                <a:lnTo>
                  <a:pt x="2176" y="775"/>
                </a:lnTo>
                <a:lnTo>
                  <a:pt x="2168" y="789"/>
                </a:lnTo>
                <a:lnTo>
                  <a:pt x="2158" y="803"/>
                </a:lnTo>
                <a:lnTo>
                  <a:pt x="2146" y="815"/>
                </a:lnTo>
                <a:lnTo>
                  <a:pt x="2135" y="826"/>
                </a:lnTo>
                <a:lnTo>
                  <a:pt x="2121" y="836"/>
                </a:lnTo>
                <a:lnTo>
                  <a:pt x="2107" y="844"/>
                </a:lnTo>
                <a:lnTo>
                  <a:pt x="2092" y="851"/>
                </a:lnTo>
                <a:lnTo>
                  <a:pt x="2076" y="858"/>
                </a:lnTo>
                <a:lnTo>
                  <a:pt x="2059" y="862"/>
                </a:lnTo>
                <a:lnTo>
                  <a:pt x="2043" y="865"/>
                </a:lnTo>
                <a:lnTo>
                  <a:pt x="2025" y="865"/>
                </a:lnTo>
                <a:lnTo>
                  <a:pt x="2025" y="865"/>
                </a:lnTo>
                <a:lnTo>
                  <a:pt x="2011" y="865"/>
                </a:lnTo>
                <a:lnTo>
                  <a:pt x="1997" y="863"/>
                </a:lnTo>
                <a:lnTo>
                  <a:pt x="1984" y="861"/>
                </a:lnTo>
                <a:lnTo>
                  <a:pt x="1971" y="856"/>
                </a:lnTo>
                <a:lnTo>
                  <a:pt x="1959" y="852"/>
                </a:lnTo>
                <a:lnTo>
                  <a:pt x="1946" y="847"/>
                </a:lnTo>
                <a:lnTo>
                  <a:pt x="1935" y="840"/>
                </a:lnTo>
                <a:lnTo>
                  <a:pt x="1924" y="833"/>
                </a:lnTo>
                <a:lnTo>
                  <a:pt x="1915" y="825"/>
                </a:lnTo>
                <a:lnTo>
                  <a:pt x="1905" y="817"/>
                </a:lnTo>
                <a:lnTo>
                  <a:pt x="1896" y="807"/>
                </a:lnTo>
                <a:lnTo>
                  <a:pt x="1887" y="796"/>
                </a:lnTo>
                <a:lnTo>
                  <a:pt x="1880" y="786"/>
                </a:lnTo>
                <a:lnTo>
                  <a:pt x="1874" y="774"/>
                </a:lnTo>
                <a:lnTo>
                  <a:pt x="1868" y="763"/>
                </a:lnTo>
                <a:lnTo>
                  <a:pt x="1863" y="751"/>
                </a:lnTo>
                <a:lnTo>
                  <a:pt x="1863" y="821"/>
                </a:lnTo>
                <a:lnTo>
                  <a:pt x="1863" y="821"/>
                </a:lnTo>
                <a:lnTo>
                  <a:pt x="1863" y="1376"/>
                </a:lnTo>
                <a:lnTo>
                  <a:pt x="1336" y="1376"/>
                </a:lnTo>
                <a:lnTo>
                  <a:pt x="1336" y="1376"/>
                </a:lnTo>
                <a:lnTo>
                  <a:pt x="1347" y="1362"/>
                </a:lnTo>
                <a:lnTo>
                  <a:pt x="1355" y="1349"/>
                </a:lnTo>
                <a:lnTo>
                  <a:pt x="1362" y="1334"/>
                </a:lnTo>
                <a:lnTo>
                  <a:pt x="1369" y="1317"/>
                </a:lnTo>
                <a:lnTo>
                  <a:pt x="1375" y="1301"/>
                </a:lnTo>
                <a:lnTo>
                  <a:pt x="1377" y="1284"/>
                </a:lnTo>
                <a:lnTo>
                  <a:pt x="1380" y="1266"/>
                </a:lnTo>
                <a:lnTo>
                  <a:pt x="1382" y="1248"/>
                </a:lnTo>
                <a:lnTo>
                  <a:pt x="1382" y="1248"/>
                </a:lnTo>
                <a:lnTo>
                  <a:pt x="1380" y="1228"/>
                </a:lnTo>
                <a:lnTo>
                  <a:pt x="1377" y="1207"/>
                </a:lnTo>
                <a:lnTo>
                  <a:pt x="1372" y="1186"/>
                </a:lnTo>
                <a:lnTo>
                  <a:pt x="1365" y="1169"/>
                </a:lnTo>
                <a:lnTo>
                  <a:pt x="1357" y="1151"/>
                </a:lnTo>
                <a:lnTo>
                  <a:pt x="1346" y="1133"/>
                </a:lnTo>
                <a:lnTo>
                  <a:pt x="1333" y="1118"/>
                </a:lnTo>
                <a:lnTo>
                  <a:pt x="1321" y="1103"/>
                </a:lnTo>
                <a:lnTo>
                  <a:pt x="1306" y="1089"/>
                </a:lnTo>
                <a:lnTo>
                  <a:pt x="1289" y="1078"/>
                </a:lnTo>
                <a:lnTo>
                  <a:pt x="1273" y="1067"/>
                </a:lnTo>
                <a:lnTo>
                  <a:pt x="1255" y="1059"/>
                </a:lnTo>
                <a:lnTo>
                  <a:pt x="1236" y="1052"/>
                </a:lnTo>
                <a:lnTo>
                  <a:pt x="1217" y="1046"/>
                </a:lnTo>
                <a:lnTo>
                  <a:pt x="1196" y="1043"/>
                </a:lnTo>
                <a:lnTo>
                  <a:pt x="1174" y="1042"/>
                </a:lnTo>
                <a:lnTo>
                  <a:pt x="1174" y="1042"/>
                </a:lnTo>
                <a:lnTo>
                  <a:pt x="1153" y="1043"/>
                </a:lnTo>
                <a:lnTo>
                  <a:pt x="1133" y="1046"/>
                </a:lnTo>
                <a:lnTo>
                  <a:pt x="1113" y="1052"/>
                </a:lnTo>
                <a:lnTo>
                  <a:pt x="1094" y="1059"/>
                </a:lnTo>
                <a:lnTo>
                  <a:pt x="1076" y="1067"/>
                </a:lnTo>
                <a:lnTo>
                  <a:pt x="1060" y="1078"/>
                </a:lnTo>
                <a:lnTo>
                  <a:pt x="1043" y="1089"/>
                </a:lnTo>
                <a:lnTo>
                  <a:pt x="1028" y="1103"/>
                </a:lnTo>
                <a:lnTo>
                  <a:pt x="1016" y="1118"/>
                </a:lnTo>
                <a:lnTo>
                  <a:pt x="1003" y="1133"/>
                </a:lnTo>
                <a:lnTo>
                  <a:pt x="992" y="1151"/>
                </a:lnTo>
                <a:lnTo>
                  <a:pt x="984" y="1169"/>
                </a:lnTo>
                <a:lnTo>
                  <a:pt x="977" y="1186"/>
                </a:lnTo>
                <a:lnTo>
                  <a:pt x="972" y="1207"/>
                </a:lnTo>
                <a:lnTo>
                  <a:pt x="969" y="1228"/>
                </a:lnTo>
                <a:lnTo>
                  <a:pt x="968" y="1248"/>
                </a:lnTo>
                <a:lnTo>
                  <a:pt x="968" y="1248"/>
                </a:lnTo>
                <a:lnTo>
                  <a:pt x="969" y="1266"/>
                </a:lnTo>
                <a:lnTo>
                  <a:pt x="972" y="1284"/>
                </a:lnTo>
                <a:lnTo>
                  <a:pt x="975" y="1301"/>
                </a:lnTo>
                <a:lnTo>
                  <a:pt x="980" y="1317"/>
                </a:lnTo>
                <a:lnTo>
                  <a:pt x="987" y="1334"/>
                </a:lnTo>
                <a:lnTo>
                  <a:pt x="994" y="1349"/>
                </a:lnTo>
                <a:lnTo>
                  <a:pt x="1002" y="1362"/>
                </a:lnTo>
                <a:lnTo>
                  <a:pt x="1013" y="1376"/>
                </a:lnTo>
                <a:lnTo>
                  <a:pt x="0" y="1376"/>
                </a:lnTo>
                <a:lnTo>
                  <a:pt x="0" y="0"/>
                </a:lnTo>
                <a:lnTo>
                  <a:pt x="668" y="0"/>
                </a:lnTo>
                <a:lnTo>
                  <a:pt x="668" y="0"/>
                </a:lnTo>
                <a:lnTo>
                  <a:pt x="668" y="5"/>
                </a:lnTo>
                <a:lnTo>
                  <a:pt x="668" y="5"/>
                </a:lnTo>
                <a:lnTo>
                  <a:pt x="669" y="26"/>
                </a:lnTo>
                <a:lnTo>
                  <a:pt x="672" y="47"/>
                </a:lnTo>
                <a:lnTo>
                  <a:pt x="678" y="66"/>
                </a:lnTo>
                <a:lnTo>
                  <a:pt x="685" y="85"/>
                </a:lnTo>
                <a:lnTo>
                  <a:pt x="693" y="103"/>
                </a:lnTo>
                <a:lnTo>
                  <a:pt x="704" y="121"/>
                </a:lnTo>
                <a:lnTo>
                  <a:pt x="716" y="136"/>
                </a:lnTo>
                <a:lnTo>
                  <a:pt x="729" y="151"/>
                </a:lnTo>
                <a:lnTo>
                  <a:pt x="744" y="164"/>
                </a:lnTo>
                <a:lnTo>
                  <a:pt x="759" y="176"/>
                </a:lnTo>
                <a:lnTo>
                  <a:pt x="777" y="187"/>
                </a:lnTo>
                <a:lnTo>
                  <a:pt x="795" y="195"/>
                </a:lnTo>
                <a:lnTo>
                  <a:pt x="814" y="202"/>
                </a:lnTo>
                <a:lnTo>
                  <a:pt x="833" y="208"/>
                </a:lnTo>
                <a:lnTo>
                  <a:pt x="854" y="210"/>
                </a:lnTo>
                <a:lnTo>
                  <a:pt x="874" y="212"/>
                </a:lnTo>
                <a:lnTo>
                  <a:pt x="874" y="212"/>
                </a:lnTo>
                <a:lnTo>
                  <a:pt x="896" y="210"/>
                </a:lnTo>
                <a:lnTo>
                  <a:pt x="917" y="208"/>
                </a:lnTo>
                <a:lnTo>
                  <a:pt x="936" y="202"/>
                </a:lnTo>
                <a:lnTo>
                  <a:pt x="955" y="195"/>
                </a:lnTo>
                <a:lnTo>
                  <a:pt x="973" y="187"/>
                </a:lnTo>
                <a:lnTo>
                  <a:pt x="990" y="176"/>
                </a:lnTo>
                <a:lnTo>
                  <a:pt x="1006" y="164"/>
                </a:lnTo>
                <a:lnTo>
                  <a:pt x="1021" y="151"/>
                </a:lnTo>
                <a:lnTo>
                  <a:pt x="1034" y="136"/>
                </a:lnTo>
                <a:lnTo>
                  <a:pt x="1046" y="121"/>
                </a:lnTo>
                <a:lnTo>
                  <a:pt x="1056" y="103"/>
                </a:lnTo>
                <a:lnTo>
                  <a:pt x="1065" y="85"/>
                </a:lnTo>
                <a:lnTo>
                  <a:pt x="1072" y="66"/>
                </a:lnTo>
                <a:lnTo>
                  <a:pt x="1076" y="47"/>
                </a:lnTo>
                <a:lnTo>
                  <a:pt x="1080" y="26"/>
                </a:lnTo>
                <a:lnTo>
                  <a:pt x="1082" y="5"/>
                </a:lnTo>
                <a:lnTo>
                  <a:pt x="1082" y="5"/>
                </a:lnTo>
                <a:lnTo>
                  <a:pt x="1080" y="0"/>
                </a:lnTo>
                <a:lnTo>
                  <a:pt x="1863" y="0"/>
                </a:lnTo>
                <a:lnTo>
                  <a:pt x="1863" y="565"/>
                </a:lnTo>
                <a:lnTo>
                  <a:pt x="1863" y="565"/>
                </a:lnTo>
                <a:lnTo>
                  <a:pt x="1863" y="635"/>
                </a:lnTo>
                <a:lnTo>
                  <a:pt x="1863" y="6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33">
            <a:extLst>
              <a:ext uri="{FF2B5EF4-FFF2-40B4-BE49-F238E27FC236}">
                <a16:creationId xmlns:a16="http://schemas.microsoft.com/office/drawing/2014/main" id="{816B4AB8-3E1F-E900-4C4E-4203B50C23A9}"/>
              </a:ext>
            </a:extLst>
          </p:cNvPr>
          <p:cNvSpPr>
            <a:spLocks/>
          </p:cNvSpPr>
          <p:nvPr/>
        </p:nvSpPr>
        <p:spPr bwMode="auto">
          <a:xfrm>
            <a:off x="3052656" y="3051086"/>
            <a:ext cx="3040383" cy="2776163"/>
          </a:xfrm>
          <a:custGeom>
            <a:avLst/>
            <a:gdLst>
              <a:gd name="T0" fmla="*/ 1003 w 1863"/>
              <a:gd name="T1" fmla="*/ 154 h 1701"/>
              <a:gd name="T2" fmla="*/ 1016 w 1863"/>
              <a:gd name="T3" fmla="*/ 105 h 1701"/>
              <a:gd name="T4" fmla="*/ 1042 w 1863"/>
              <a:gd name="T5" fmla="*/ 64 h 1701"/>
              <a:gd name="T6" fmla="*/ 1079 w 1863"/>
              <a:gd name="T7" fmla="*/ 29 h 1701"/>
              <a:gd name="T8" fmla="*/ 1123 w 1863"/>
              <a:gd name="T9" fmla="*/ 9 h 1701"/>
              <a:gd name="T10" fmla="*/ 1174 w 1863"/>
              <a:gd name="T11" fmla="*/ 0 h 1701"/>
              <a:gd name="T12" fmla="*/ 1210 w 1863"/>
              <a:gd name="T13" fmla="*/ 5 h 1701"/>
              <a:gd name="T14" fmla="*/ 1256 w 1863"/>
              <a:gd name="T15" fmla="*/ 21 h 1701"/>
              <a:gd name="T16" fmla="*/ 1296 w 1863"/>
              <a:gd name="T17" fmla="*/ 51 h 1701"/>
              <a:gd name="T18" fmla="*/ 1327 w 1863"/>
              <a:gd name="T19" fmla="*/ 90 h 1701"/>
              <a:gd name="T20" fmla="*/ 1343 w 1863"/>
              <a:gd name="T21" fmla="*/ 138 h 1701"/>
              <a:gd name="T22" fmla="*/ 1347 w 1863"/>
              <a:gd name="T23" fmla="*/ 172 h 1701"/>
              <a:gd name="T24" fmla="*/ 1343 w 1863"/>
              <a:gd name="T25" fmla="*/ 208 h 1701"/>
              <a:gd name="T26" fmla="*/ 1321 w 1863"/>
              <a:gd name="T27" fmla="*/ 263 h 1701"/>
              <a:gd name="T28" fmla="*/ 1274 w 1863"/>
              <a:gd name="T29" fmla="*/ 313 h 1701"/>
              <a:gd name="T30" fmla="*/ 1863 w 1863"/>
              <a:gd name="T31" fmla="*/ 860 h 1701"/>
              <a:gd name="T32" fmla="*/ 1834 w 1863"/>
              <a:gd name="T33" fmla="*/ 838 h 1701"/>
              <a:gd name="T34" fmla="*/ 1782 w 1863"/>
              <a:gd name="T35" fmla="*/ 814 h 1701"/>
              <a:gd name="T36" fmla="*/ 1725 w 1863"/>
              <a:gd name="T37" fmla="*/ 806 h 1701"/>
              <a:gd name="T38" fmla="*/ 1684 w 1863"/>
              <a:gd name="T39" fmla="*/ 810 h 1701"/>
              <a:gd name="T40" fmla="*/ 1626 w 1863"/>
              <a:gd name="T41" fmla="*/ 831 h 1701"/>
              <a:gd name="T42" fmla="*/ 1579 w 1863"/>
              <a:gd name="T43" fmla="*/ 867 h 1701"/>
              <a:gd name="T44" fmla="*/ 1544 w 1863"/>
              <a:gd name="T45" fmla="*/ 915 h 1701"/>
              <a:gd name="T46" fmla="*/ 1523 w 1863"/>
              <a:gd name="T47" fmla="*/ 971 h 1701"/>
              <a:gd name="T48" fmla="*/ 1519 w 1863"/>
              <a:gd name="T49" fmla="*/ 1012 h 1701"/>
              <a:gd name="T50" fmla="*/ 1527 w 1863"/>
              <a:gd name="T51" fmla="*/ 1074 h 1701"/>
              <a:gd name="T52" fmla="*/ 1553 w 1863"/>
              <a:gd name="T53" fmla="*/ 1128 h 1701"/>
              <a:gd name="T54" fmla="*/ 1593 w 1863"/>
              <a:gd name="T55" fmla="*/ 1172 h 1701"/>
              <a:gd name="T56" fmla="*/ 1644 w 1863"/>
              <a:gd name="T57" fmla="*/ 1203 h 1701"/>
              <a:gd name="T58" fmla="*/ 1705 w 1863"/>
              <a:gd name="T59" fmla="*/ 1218 h 1701"/>
              <a:gd name="T60" fmla="*/ 1744 w 1863"/>
              <a:gd name="T61" fmla="*/ 1218 h 1701"/>
              <a:gd name="T62" fmla="*/ 1799 w 1863"/>
              <a:gd name="T63" fmla="*/ 1205 h 1701"/>
              <a:gd name="T64" fmla="*/ 1849 w 1863"/>
              <a:gd name="T65" fmla="*/ 1179 h 1701"/>
              <a:gd name="T66" fmla="*/ 1061 w 1863"/>
              <a:gd name="T67" fmla="*/ 1701 h 1701"/>
              <a:gd name="T68" fmla="*/ 1061 w 1863"/>
              <a:gd name="T69" fmla="*/ 1691 h 1701"/>
              <a:gd name="T70" fmla="*/ 1052 w 1863"/>
              <a:gd name="T71" fmla="*/ 1630 h 1701"/>
              <a:gd name="T72" fmla="*/ 1027 w 1863"/>
              <a:gd name="T73" fmla="*/ 1576 h 1701"/>
              <a:gd name="T74" fmla="*/ 987 w 1863"/>
              <a:gd name="T75" fmla="*/ 1532 h 1701"/>
              <a:gd name="T76" fmla="*/ 936 w 1863"/>
              <a:gd name="T77" fmla="*/ 1500 h 1701"/>
              <a:gd name="T78" fmla="*/ 876 w 1863"/>
              <a:gd name="T79" fmla="*/ 1485 h 1701"/>
              <a:gd name="T80" fmla="*/ 834 w 1863"/>
              <a:gd name="T81" fmla="*/ 1485 h 1701"/>
              <a:gd name="T82" fmla="*/ 775 w 1863"/>
              <a:gd name="T83" fmla="*/ 1500 h 1701"/>
              <a:gd name="T84" fmla="*/ 724 w 1863"/>
              <a:gd name="T85" fmla="*/ 1532 h 1701"/>
              <a:gd name="T86" fmla="*/ 685 w 1863"/>
              <a:gd name="T87" fmla="*/ 1576 h 1701"/>
              <a:gd name="T88" fmla="*/ 658 w 1863"/>
              <a:gd name="T89" fmla="*/ 1630 h 1701"/>
              <a:gd name="T90" fmla="*/ 649 w 1863"/>
              <a:gd name="T91" fmla="*/ 1691 h 1701"/>
              <a:gd name="T92" fmla="*/ 0 w 1863"/>
              <a:gd name="T93" fmla="*/ 1701 h 1701"/>
              <a:gd name="T94" fmla="*/ 1094 w 1863"/>
              <a:gd name="T95" fmla="*/ 325 h 1701"/>
              <a:gd name="T96" fmla="*/ 1042 w 1863"/>
              <a:gd name="T97" fmla="*/ 281 h 1701"/>
              <a:gd name="T98" fmla="*/ 1009 w 1863"/>
              <a:gd name="T99" fmla="*/ 220 h 1701"/>
              <a:gd name="T100" fmla="*/ 1003 w 1863"/>
              <a:gd name="T101" fmla="*/ 185 h 1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863" h="1701">
                <a:moveTo>
                  <a:pt x="1002" y="172"/>
                </a:moveTo>
                <a:lnTo>
                  <a:pt x="1002" y="172"/>
                </a:lnTo>
                <a:lnTo>
                  <a:pt x="1003" y="154"/>
                </a:lnTo>
                <a:lnTo>
                  <a:pt x="1006" y="138"/>
                </a:lnTo>
                <a:lnTo>
                  <a:pt x="1010" y="121"/>
                </a:lnTo>
                <a:lnTo>
                  <a:pt x="1016" y="105"/>
                </a:lnTo>
                <a:lnTo>
                  <a:pt x="1023" y="90"/>
                </a:lnTo>
                <a:lnTo>
                  <a:pt x="1032" y="76"/>
                </a:lnTo>
                <a:lnTo>
                  <a:pt x="1042" y="64"/>
                </a:lnTo>
                <a:lnTo>
                  <a:pt x="1053" y="51"/>
                </a:lnTo>
                <a:lnTo>
                  <a:pt x="1065" y="40"/>
                </a:lnTo>
                <a:lnTo>
                  <a:pt x="1079" y="29"/>
                </a:lnTo>
                <a:lnTo>
                  <a:pt x="1093" y="21"/>
                </a:lnTo>
                <a:lnTo>
                  <a:pt x="1108" y="14"/>
                </a:lnTo>
                <a:lnTo>
                  <a:pt x="1123" y="9"/>
                </a:lnTo>
                <a:lnTo>
                  <a:pt x="1140" y="5"/>
                </a:lnTo>
                <a:lnTo>
                  <a:pt x="1157" y="2"/>
                </a:lnTo>
                <a:lnTo>
                  <a:pt x="1174" y="0"/>
                </a:lnTo>
                <a:lnTo>
                  <a:pt x="1174" y="0"/>
                </a:lnTo>
                <a:lnTo>
                  <a:pt x="1192" y="2"/>
                </a:lnTo>
                <a:lnTo>
                  <a:pt x="1210" y="5"/>
                </a:lnTo>
                <a:lnTo>
                  <a:pt x="1226" y="9"/>
                </a:lnTo>
                <a:lnTo>
                  <a:pt x="1241" y="14"/>
                </a:lnTo>
                <a:lnTo>
                  <a:pt x="1256" y="21"/>
                </a:lnTo>
                <a:lnTo>
                  <a:pt x="1270" y="29"/>
                </a:lnTo>
                <a:lnTo>
                  <a:pt x="1284" y="40"/>
                </a:lnTo>
                <a:lnTo>
                  <a:pt x="1296" y="51"/>
                </a:lnTo>
                <a:lnTo>
                  <a:pt x="1307" y="64"/>
                </a:lnTo>
                <a:lnTo>
                  <a:pt x="1317" y="76"/>
                </a:lnTo>
                <a:lnTo>
                  <a:pt x="1327" y="90"/>
                </a:lnTo>
                <a:lnTo>
                  <a:pt x="1333" y="105"/>
                </a:lnTo>
                <a:lnTo>
                  <a:pt x="1339" y="121"/>
                </a:lnTo>
                <a:lnTo>
                  <a:pt x="1343" y="138"/>
                </a:lnTo>
                <a:lnTo>
                  <a:pt x="1346" y="154"/>
                </a:lnTo>
                <a:lnTo>
                  <a:pt x="1347" y="172"/>
                </a:lnTo>
                <a:lnTo>
                  <a:pt x="1347" y="172"/>
                </a:lnTo>
                <a:lnTo>
                  <a:pt x="1346" y="185"/>
                </a:lnTo>
                <a:lnTo>
                  <a:pt x="1344" y="197"/>
                </a:lnTo>
                <a:lnTo>
                  <a:pt x="1343" y="208"/>
                </a:lnTo>
                <a:lnTo>
                  <a:pt x="1340" y="220"/>
                </a:lnTo>
                <a:lnTo>
                  <a:pt x="1332" y="242"/>
                </a:lnTo>
                <a:lnTo>
                  <a:pt x="1321" y="263"/>
                </a:lnTo>
                <a:lnTo>
                  <a:pt x="1307" y="281"/>
                </a:lnTo>
                <a:lnTo>
                  <a:pt x="1292" y="299"/>
                </a:lnTo>
                <a:lnTo>
                  <a:pt x="1274" y="313"/>
                </a:lnTo>
                <a:lnTo>
                  <a:pt x="1255" y="325"/>
                </a:lnTo>
                <a:lnTo>
                  <a:pt x="1863" y="325"/>
                </a:lnTo>
                <a:lnTo>
                  <a:pt x="1863" y="860"/>
                </a:lnTo>
                <a:lnTo>
                  <a:pt x="1863" y="860"/>
                </a:lnTo>
                <a:lnTo>
                  <a:pt x="1849" y="847"/>
                </a:lnTo>
                <a:lnTo>
                  <a:pt x="1834" y="838"/>
                </a:lnTo>
                <a:lnTo>
                  <a:pt x="1817" y="828"/>
                </a:lnTo>
                <a:lnTo>
                  <a:pt x="1799" y="821"/>
                </a:lnTo>
                <a:lnTo>
                  <a:pt x="1782" y="814"/>
                </a:lnTo>
                <a:lnTo>
                  <a:pt x="1764" y="810"/>
                </a:lnTo>
                <a:lnTo>
                  <a:pt x="1744" y="807"/>
                </a:lnTo>
                <a:lnTo>
                  <a:pt x="1725" y="806"/>
                </a:lnTo>
                <a:lnTo>
                  <a:pt x="1725" y="806"/>
                </a:lnTo>
                <a:lnTo>
                  <a:pt x="1705" y="807"/>
                </a:lnTo>
                <a:lnTo>
                  <a:pt x="1684" y="810"/>
                </a:lnTo>
                <a:lnTo>
                  <a:pt x="1663" y="816"/>
                </a:lnTo>
                <a:lnTo>
                  <a:pt x="1644" y="823"/>
                </a:lnTo>
                <a:lnTo>
                  <a:pt x="1626" y="831"/>
                </a:lnTo>
                <a:lnTo>
                  <a:pt x="1610" y="842"/>
                </a:lnTo>
                <a:lnTo>
                  <a:pt x="1593" y="854"/>
                </a:lnTo>
                <a:lnTo>
                  <a:pt x="1579" y="867"/>
                </a:lnTo>
                <a:lnTo>
                  <a:pt x="1566" y="882"/>
                </a:lnTo>
                <a:lnTo>
                  <a:pt x="1553" y="898"/>
                </a:lnTo>
                <a:lnTo>
                  <a:pt x="1544" y="915"/>
                </a:lnTo>
                <a:lnTo>
                  <a:pt x="1535" y="933"/>
                </a:lnTo>
                <a:lnTo>
                  <a:pt x="1527" y="952"/>
                </a:lnTo>
                <a:lnTo>
                  <a:pt x="1523" y="971"/>
                </a:lnTo>
                <a:lnTo>
                  <a:pt x="1520" y="992"/>
                </a:lnTo>
                <a:lnTo>
                  <a:pt x="1519" y="1012"/>
                </a:lnTo>
                <a:lnTo>
                  <a:pt x="1519" y="1012"/>
                </a:lnTo>
                <a:lnTo>
                  <a:pt x="1520" y="1034"/>
                </a:lnTo>
                <a:lnTo>
                  <a:pt x="1523" y="1055"/>
                </a:lnTo>
                <a:lnTo>
                  <a:pt x="1527" y="1074"/>
                </a:lnTo>
                <a:lnTo>
                  <a:pt x="1535" y="1093"/>
                </a:lnTo>
                <a:lnTo>
                  <a:pt x="1544" y="1111"/>
                </a:lnTo>
                <a:lnTo>
                  <a:pt x="1553" y="1128"/>
                </a:lnTo>
                <a:lnTo>
                  <a:pt x="1566" y="1144"/>
                </a:lnTo>
                <a:lnTo>
                  <a:pt x="1579" y="1159"/>
                </a:lnTo>
                <a:lnTo>
                  <a:pt x="1593" y="1172"/>
                </a:lnTo>
                <a:lnTo>
                  <a:pt x="1610" y="1184"/>
                </a:lnTo>
                <a:lnTo>
                  <a:pt x="1626" y="1195"/>
                </a:lnTo>
                <a:lnTo>
                  <a:pt x="1644" y="1203"/>
                </a:lnTo>
                <a:lnTo>
                  <a:pt x="1663" y="1210"/>
                </a:lnTo>
                <a:lnTo>
                  <a:pt x="1684" y="1216"/>
                </a:lnTo>
                <a:lnTo>
                  <a:pt x="1705" y="1218"/>
                </a:lnTo>
                <a:lnTo>
                  <a:pt x="1725" y="1220"/>
                </a:lnTo>
                <a:lnTo>
                  <a:pt x="1725" y="1220"/>
                </a:lnTo>
                <a:lnTo>
                  <a:pt x="1744" y="1218"/>
                </a:lnTo>
                <a:lnTo>
                  <a:pt x="1764" y="1216"/>
                </a:lnTo>
                <a:lnTo>
                  <a:pt x="1782" y="1212"/>
                </a:lnTo>
                <a:lnTo>
                  <a:pt x="1799" y="1205"/>
                </a:lnTo>
                <a:lnTo>
                  <a:pt x="1817" y="1198"/>
                </a:lnTo>
                <a:lnTo>
                  <a:pt x="1834" y="1188"/>
                </a:lnTo>
                <a:lnTo>
                  <a:pt x="1849" y="1179"/>
                </a:lnTo>
                <a:lnTo>
                  <a:pt x="1863" y="1166"/>
                </a:lnTo>
                <a:lnTo>
                  <a:pt x="1863" y="1701"/>
                </a:lnTo>
                <a:lnTo>
                  <a:pt x="1061" y="1701"/>
                </a:lnTo>
                <a:lnTo>
                  <a:pt x="1061" y="1701"/>
                </a:lnTo>
                <a:lnTo>
                  <a:pt x="1061" y="1691"/>
                </a:lnTo>
                <a:lnTo>
                  <a:pt x="1061" y="1691"/>
                </a:lnTo>
                <a:lnTo>
                  <a:pt x="1060" y="1669"/>
                </a:lnTo>
                <a:lnTo>
                  <a:pt x="1057" y="1650"/>
                </a:lnTo>
                <a:lnTo>
                  <a:pt x="1052" y="1630"/>
                </a:lnTo>
                <a:lnTo>
                  <a:pt x="1045" y="1610"/>
                </a:lnTo>
                <a:lnTo>
                  <a:pt x="1036" y="1592"/>
                </a:lnTo>
                <a:lnTo>
                  <a:pt x="1027" y="1576"/>
                </a:lnTo>
                <a:lnTo>
                  <a:pt x="1014" y="1559"/>
                </a:lnTo>
                <a:lnTo>
                  <a:pt x="1001" y="1546"/>
                </a:lnTo>
                <a:lnTo>
                  <a:pt x="987" y="1532"/>
                </a:lnTo>
                <a:lnTo>
                  <a:pt x="970" y="1520"/>
                </a:lnTo>
                <a:lnTo>
                  <a:pt x="954" y="1510"/>
                </a:lnTo>
                <a:lnTo>
                  <a:pt x="936" y="1500"/>
                </a:lnTo>
                <a:lnTo>
                  <a:pt x="917" y="1493"/>
                </a:lnTo>
                <a:lnTo>
                  <a:pt x="896" y="1489"/>
                </a:lnTo>
                <a:lnTo>
                  <a:pt x="876" y="1485"/>
                </a:lnTo>
                <a:lnTo>
                  <a:pt x="855" y="1485"/>
                </a:lnTo>
                <a:lnTo>
                  <a:pt x="855" y="1485"/>
                </a:lnTo>
                <a:lnTo>
                  <a:pt x="834" y="1485"/>
                </a:lnTo>
                <a:lnTo>
                  <a:pt x="814" y="1489"/>
                </a:lnTo>
                <a:lnTo>
                  <a:pt x="793" y="1493"/>
                </a:lnTo>
                <a:lnTo>
                  <a:pt x="775" y="1500"/>
                </a:lnTo>
                <a:lnTo>
                  <a:pt x="757" y="1510"/>
                </a:lnTo>
                <a:lnTo>
                  <a:pt x="740" y="1520"/>
                </a:lnTo>
                <a:lnTo>
                  <a:pt x="724" y="1532"/>
                </a:lnTo>
                <a:lnTo>
                  <a:pt x="709" y="1546"/>
                </a:lnTo>
                <a:lnTo>
                  <a:pt x="696" y="1559"/>
                </a:lnTo>
                <a:lnTo>
                  <a:pt x="685" y="1576"/>
                </a:lnTo>
                <a:lnTo>
                  <a:pt x="674" y="1592"/>
                </a:lnTo>
                <a:lnTo>
                  <a:pt x="665" y="1610"/>
                </a:lnTo>
                <a:lnTo>
                  <a:pt x="658" y="1630"/>
                </a:lnTo>
                <a:lnTo>
                  <a:pt x="653" y="1650"/>
                </a:lnTo>
                <a:lnTo>
                  <a:pt x="650" y="1669"/>
                </a:lnTo>
                <a:lnTo>
                  <a:pt x="649" y="1691"/>
                </a:lnTo>
                <a:lnTo>
                  <a:pt x="649" y="1691"/>
                </a:lnTo>
                <a:lnTo>
                  <a:pt x="649" y="1701"/>
                </a:lnTo>
                <a:lnTo>
                  <a:pt x="0" y="1701"/>
                </a:lnTo>
                <a:lnTo>
                  <a:pt x="0" y="325"/>
                </a:lnTo>
                <a:lnTo>
                  <a:pt x="1094" y="325"/>
                </a:lnTo>
                <a:lnTo>
                  <a:pt x="1094" y="325"/>
                </a:lnTo>
                <a:lnTo>
                  <a:pt x="1075" y="313"/>
                </a:lnTo>
                <a:lnTo>
                  <a:pt x="1057" y="299"/>
                </a:lnTo>
                <a:lnTo>
                  <a:pt x="1042" y="281"/>
                </a:lnTo>
                <a:lnTo>
                  <a:pt x="1028" y="263"/>
                </a:lnTo>
                <a:lnTo>
                  <a:pt x="1017" y="242"/>
                </a:lnTo>
                <a:lnTo>
                  <a:pt x="1009" y="220"/>
                </a:lnTo>
                <a:lnTo>
                  <a:pt x="1006" y="208"/>
                </a:lnTo>
                <a:lnTo>
                  <a:pt x="1005" y="197"/>
                </a:lnTo>
                <a:lnTo>
                  <a:pt x="1003" y="185"/>
                </a:lnTo>
                <a:lnTo>
                  <a:pt x="1002" y="172"/>
                </a:lnTo>
                <a:lnTo>
                  <a:pt x="1002" y="1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9 Rectángulo">
            <a:extLst>
              <a:ext uri="{FF2B5EF4-FFF2-40B4-BE49-F238E27FC236}">
                <a16:creationId xmlns:a16="http://schemas.microsoft.com/office/drawing/2014/main" id="{B225ABE0-5E66-6411-2E98-EF79017C6FA2}"/>
              </a:ext>
            </a:extLst>
          </p:cNvPr>
          <p:cNvSpPr/>
          <p:nvPr/>
        </p:nvSpPr>
        <p:spPr>
          <a:xfrm>
            <a:off x="3320810" y="1715987"/>
            <a:ext cx="1770295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STRENGTH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9 Rectángulo">
            <a:extLst>
              <a:ext uri="{FF2B5EF4-FFF2-40B4-BE49-F238E27FC236}">
                <a16:creationId xmlns:a16="http://schemas.microsoft.com/office/drawing/2014/main" id="{4CEEE07A-44BD-36A3-6EFD-6A375A56CF31}"/>
              </a:ext>
            </a:extLst>
          </p:cNvPr>
          <p:cNvSpPr/>
          <p:nvPr/>
        </p:nvSpPr>
        <p:spPr>
          <a:xfrm>
            <a:off x="6666945" y="2997679"/>
            <a:ext cx="1856857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WEAKNESS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9 Rectángulo">
            <a:extLst>
              <a:ext uri="{FF2B5EF4-FFF2-40B4-BE49-F238E27FC236}">
                <a16:creationId xmlns:a16="http://schemas.microsoft.com/office/drawing/2014/main" id="{E85E2458-A561-2262-F486-D0150D23433C}"/>
              </a:ext>
            </a:extLst>
          </p:cNvPr>
          <p:cNvSpPr/>
          <p:nvPr/>
        </p:nvSpPr>
        <p:spPr>
          <a:xfrm>
            <a:off x="6194054" y="4523500"/>
            <a:ext cx="1326264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THREAT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9 Rectángulo">
            <a:extLst>
              <a:ext uri="{FF2B5EF4-FFF2-40B4-BE49-F238E27FC236}">
                <a16:creationId xmlns:a16="http://schemas.microsoft.com/office/drawing/2014/main" id="{07445CC0-6D3A-F7D7-2CEE-30E1EDBAE3D5}"/>
              </a:ext>
            </a:extLst>
          </p:cNvPr>
          <p:cNvSpPr/>
          <p:nvPr/>
        </p:nvSpPr>
        <p:spPr>
          <a:xfrm>
            <a:off x="3620824" y="5048749"/>
            <a:ext cx="2299286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OPPORTUNITY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BC197E-BA78-73D8-3CA0-DB10FB16DDBC}"/>
              </a:ext>
            </a:extLst>
          </p:cNvPr>
          <p:cNvSpPr txBox="1"/>
          <p:nvPr/>
        </p:nvSpPr>
        <p:spPr>
          <a:xfrm>
            <a:off x="3214039" y="2143189"/>
            <a:ext cx="24536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02B62A-8A6E-F24F-46EA-B070806863DD}"/>
              </a:ext>
            </a:extLst>
          </p:cNvPr>
          <p:cNvSpPr txBox="1"/>
          <p:nvPr/>
        </p:nvSpPr>
        <p:spPr>
          <a:xfrm>
            <a:off x="6694365" y="1912934"/>
            <a:ext cx="21241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5EF83A-3F0C-B29B-5139-93C0F7AD4D8F}"/>
              </a:ext>
            </a:extLst>
          </p:cNvPr>
          <p:cNvSpPr txBox="1"/>
          <p:nvPr/>
        </p:nvSpPr>
        <p:spPr>
          <a:xfrm>
            <a:off x="3378783" y="4256421"/>
            <a:ext cx="21241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81E7A3-4530-FFA0-594E-60082201ECD1}"/>
              </a:ext>
            </a:extLst>
          </p:cNvPr>
          <p:cNvSpPr txBox="1"/>
          <p:nvPr/>
        </p:nvSpPr>
        <p:spPr>
          <a:xfrm>
            <a:off x="7378319" y="4138329"/>
            <a:ext cx="150763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</p:spTree>
    <p:extLst>
      <p:ext uri="{BB962C8B-B14F-4D97-AF65-F5344CB8AC3E}">
        <p14:creationId xmlns:p14="http://schemas.microsoft.com/office/powerpoint/2010/main" val="1861802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7</TotalTime>
  <Words>115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Verdana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11</cp:revision>
  <dcterms:created xsi:type="dcterms:W3CDTF">2021-03-31T02:49:57Z</dcterms:created>
  <dcterms:modified xsi:type="dcterms:W3CDTF">2025-10-15T03:40:45Z</dcterms:modified>
  <cp:category/>
</cp:coreProperties>
</file>